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ink/ink1.xml" ContentType="application/inkml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246" r:id="rId1"/>
    <p:sldMasterId id="2147483756" r:id="rId2"/>
    <p:sldMasterId id="2147483648" r:id="rId3"/>
  </p:sldMasterIdLst>
  <p:notesMasterIdLst>
    <p:notesMasterId r:id="rId61"/>
  </p:notesMasterIdLst>
  <p:sldIdLst>
    <p:sldId id="280" r:id="rId4"/>
    <p:sldId id="283" r:id="rId5"/>
    <p:sldId id="849" r:id="rId6"/>
    <p:sldId id="876" r:id="rId7"/>
    <p:sldId id="875" r:id="rId8"/>
    <p:sldId id="884" r:id="rId9"/>
    <p:sldId id="874" r:id="rId10"/>
    <p:sldId id="878" r:id="rId11"/>
    <p:sldId id="880" r:id="rId12"/>
    <p:sldId id="737" r:id="rId13"/>
    <p:sldId id="858" r:id="rId14"/>
    <p:sldId id="829" r:id="rId15"/>
    <p:sldId id="869" r:id="rId16"/>
    <p:sldId id="895" r:id="rId17"/>
    <p:sldId id="863" r:id="rId18"/>
    <p:sldId id="888" r:id="rId19"/>
    <p:sldId id="890" r:id="rId20"/>
    <p:sldId id="821" r:id="rId21"/>
    <p:sldId id="865" r:id="rId22"/>
    <p:sldId id="881" r:id="rId23"/>
    <p:sldId id="866" r:id="rId24"/>
    <p:sldId id="892" r:id="rId25"/>
    <p:sldId id="894" r:id="rId26"/>
    <p:sldId id="886" r:id="rId27"/>
    <p:sldId id="860" r:id="rId28"/>
    <p:sldId id="859" r:id="rId29"/>
    <p:sldId id="861" r:id="rId30"/>
    <p:sldId id="868" r:id="rId31"/>
    <p:sldId id="906" r:id="rId32"/>
    <p:sldId id="882" r:id="rId33"/>
    <p:sldId id="873" r:id="rId34"/>
    <p:sldId id="856" r:id="rId35"/>
    <p:sldId id="877" r:id="rId36"/>
    <p:sldId id="787" r:id="rId37"/>
    <p:sldId id="867" r:id="rId38"/>
    <p:sldId id="893" r:id="rId39"/>
    <p:sldId id="896" r:id="rId40"/>
    <p:sldId id="855" r:id="rId41"/>
    <p:sldId id="871" r:id="rId42"/>
    <p:sldId id="872" r:id="rId43"/>
    <p:sldId id="830" r:id="rId44"/>
    <p:sldId id="851" r:id="rId45"/>
    <p:sldId id="905" r:id="rId46"/>
    <p:sldId id="904" r:id="rId47"/>
    <p:sldId id="903" r:id="rId48"/>
    <p:sldId id="902" r:id="rId49"/>
    <p:sldId id="901" r:id="rId50"/>
    <p:sldId id="900" r:id="rId51"/>
    <p:sldId id="899" r:id="rId52"/>
    <p:sldId id="898" r:id="rId53"/>
    <p:sldId id="897" r:id="rId54"/>
    <p:sldId id="885" r:id="rId55"/>
    <p:sldId id="848" r:id="rId56"/>
    <p:sldId id="832" r:id="rId57"/>
    <p:sldId id="833" r:id="rId58"/>
    <p:sldId id="845" r:id="rId59"/>
    <p:sldId id="852" r:id="rId6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B1E8E1CE-C373-4BDB-0D3F-F84FE1DA86D4}" name="Eileen Fleming Suse" initials="ES" userId="S::efs3844@ads.northwestern.edu::725c94ef-d051-42d7-9d33-8572765d592b" providerId="AD"/>
  <p188:author id="{1BCA7BFC-F11C-3E9E-95B3-FA7A4B2C0B61}" name="Kiela Karina Moreno" initials="KM" userId="S::mpg7143@ads.northwestern.edu::1e897b35-0dd4-497a-9ab7-7a37e6c39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498B"/>
    <a:srgbClr val="F566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74155"/>
  </p:normalViewPr>
  <p:slideViewPr>
    <p:cSldViewPr snapToGrid="0">
      <p:cViewPr varScale="1">
        <p:scale>
          <a:sx n="77" d="100"/>
          <a:sy n="77" d="100"/>
        </p:scale>
        <p:origin x="191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microsoft.com/office/2016/11/relationships/changesInfo" Target="changesInfos/changesInfo1.xml"/><Relationship Id="rId5" Type="http://schemas.openxmlformats.org/officeDocument/2006/relationships/slide" Target="slides/slide2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microsoft.com/office/2018/10/relationships/authors" Target="author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ela Karina Moreno" userId="S::mpg7143@ads.northwestern.edu::1e897b35-0dd4-497a-9ab7-7a37e6c39d5b" providerId="AD" clId="Web-{B7689595-3889-8F62-094E-991EE8921410}"/>
    <pc:docChg chg="addSld modSld sldOrd">
      <pc:chgData name="Kiela Karina Moreno" userId="S::mpg7143@ads.northwestern.edu::1e897b35-0dd4-497a-9ab7-7a37e6c39d5b" providerId="AD" clId="Web-{B7689595-3889-8F62-094E-991EE8921410}" dt="2024-02-01T21:33:56.596" v="27"/>
      <pc:docMkLst>
        <pc:docMk/>
      </pc:docMkLst>
      <pc:sldChg chg="modSp">
        <pc:chgData name="Kiela Karina Moreno" userId="S::mpg7143@ads.northwestern.edu::1e897b35-0dd4-497a-9ab7-7a37e6c39d5b" providerId="AD" clId="Web-{B7689595-3889-8F62-094E-991EE8921410}" dt="2024-02-01T21:33:23.078" v="26" actId="20577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B7689595-3889-8F62-094E-991EE8921410}" dt="2024-02-01T21:33:23.078" v="26" actId="20577"/>
          <ac:spMkLst>
            <pc:docMk/>
            <pc:sldMk cId="2820585005" sldId="856"/>
            <ac:spMk id="5" creationId="{128C267F-D634-3898-5F27-33D0A5C5B94E}"/>
          </ac:spMkLst>
        </pc:spChg>
      </pc:sldChg>
      <pc:sldChg chg="addSp delSp modSp add ord replId">
        <pc:chgData name="Kiela Karina Moreno" userId="S::mpg7143@ads.northwestern.edu::1e897b35-0dd4-497a-9ab7-7a37e6c39d5b" providerId="AD" clId="Web-{B7689595-3889-8F62-094E-991EE8921410}" dt="2024-02-01T21:33:56.596" v="27"/>
        <pc:sldMkLst>
          <pc:docMk/>
          <pc:sldMk cId="927158119" sldId="868"/>
        </pc:sldMkLst>
        <pc:spChg chg="mod">
          <ac:chgData name="Kiela Karina Moreno" userId="S::mpg7143@ads.northwestern.edu::1e897b35-0dd4-497a-9ab7-7a37e6c39d5b" providerId="AD" clId="Web-{B7689595-3889-8F62-094E-991EE8921410}" dt="2024-02-01T21:25:25.534" v="21" actId="20577"/>
          <ac:spMkLst>
            <pc:docMk/>
            <pc:sldMk cId="927158119" sldId="868"/>
            <ac:spMk id="2" creationId="{740580F6-8254-3A9A-13D0-E1CFC13D6836}"/>
          </ac:spMkLst>
        </pc:spChg>
        <pc:spChg chg="del">
          <ac:chgData name="Kiela Karina Moreno" userId="S::mpg7143@ads.northwestern.edu::1e897b35-0dd4-497a-9ab7-7a37e6c39d5b" providerId="AD" clId="Web-{B7689595-3889-8F62-094E-991EE8921410}" dt="2024-02-01T21:24:10.797" v="1"/>
          <ac:spMkLst>
            <pc:docMk/>
            <pc:sldMk cId="927158119" sldId="868"/>
            <ac:spMk id="3" creationId="{86134467-2701-0BC9-F08A-ADEE88DF27C2}"/>
          </ac:spMkLst>
        </pc:spChg>
        <pc:spChg chg="add mod">
          <ac:chgData name="Kiela Karina Moreno" userId="S::mpg7143@ads.northwestern.edu::1e897b35-0dd4-497a-9ab7-7a37e6c39d5b" providerId="AD" clId="Web-{B7689595-3889-8F62-094E-991EE8921410}" dt="2024-02-01T21:24:10.797" v="1"/>
          <ac:spMkLst>
            <pc:docMk/>
            <pc:sldMk cId="927158119" sldId="868"/>
            <ac:spMk id="6" creationId="{0D0C00E8-6AF6-0756-586F-9CB3BA9298EE}"/>
          </ac:spMkLst>
        </pc:spChg>
      </pc:sldChg>
    </pc:docChg>
  </pc:docChgLst>
  <pc:docChgLst>
    <pc:chgData name="Kiela Karina Moreno" userId="S::mpg7143@ads.northwestern.edu::1e897b35-0dd4-497a-9ab7-7a37e6c39d5b" providerId="AD" clId="Web-{CFB2476E-2A02-844A-2A98-D63B8378E147}"/>
    <pc:docChg chg="addSld delSld modSld">
      <pc:chgData name="Kiela Karina Moreno" userId="S::mpg7143@ads.northwestern.edu::1e897b35-0dd4-497a-9ab7-7a37e6c39d5b" providerId="AD" clId="Web-{CFB2476E-2A02-844A-2A98-D63B8378E147}" dt="2024-01-25T18:43:07.293" v="30" actId="1076"/>
      <pc:docMkLst>
        <pc:docMk/>
      </pc:docMkLst>
      <pc:sldChg chg="modSp add">
        <pc:chgData name="Kiela Karina Moreno" userId="S::mpg7143@ads.northwestern.edu::1e897b35-0dd4-497a-9ab7-7a37e6c39d5b" providerId="AD" clId="Web-{CFB2476E-2A02-844A-2A98-D63B8378E147}" dt="2024-01-25T18:43:07.293" v="30" actId="1076"/>
        <pc:sldMkLst>
          <pc:docMk/>
          <pc:sldMk cId="1617559145" sldId="825"/>
        </pc:sldMkLst>
        <pc:spChg chg="mod">
          <ac:chgData name="Kiela Karina Moreno" userId="S::mpg7143@ads.northwestern.edu::1e897b35-0dd4-497a-9ab7-7a37e6c39d5b" providerId="AD" clId="Web-{CFB2476E-2A02-844A-2A98-D63B8378E147}" dt="2024-01-25T18:41:07.602" v="8" actId="1076"/>
          <ac:spMkLst>
            <pc:docMk/>
            <pc:sldMk cId="1617559145" sldId="825"/>
            <ac:spMk id="2" creationId="{BB53F377-28A9-F2D5-76A8-8CDE2A9E7535}"/>
          </ac:spMkLst>
        </pc:spChg>
        <pc:spChg chg="mod">
          <ac:chgData name="Kiela Karina Moreno" userId="S::mpg7143@ads.northwestern.edu::1e897b35-0dd4-497a-9ab7-7a37e6c39d5b" providerId="AD" clId="Web-{CFB2476E-2A02-844A-2A98-D63B8378E147}" dt="2024-01-25T18:42:35.120" v="24" actId="1076"/>
          <ac:spMkLst>
            <pc:docMk/>
            <pc:sldMk cId="1617559145" sldId="825"/>
            <ac:spMk id="6" creationId="{F6338EC5-0A81-7DC2-69F0-D3BF4953F92A}"/>
          </ac:spMkLst>
        </pc:spChg>
        <pc:spChg chg="mod">
          <ac:chgData name="Kiela Karina Moreno" userId="S::mpg7143@ads.northwestern.edu::1e897b35-0dd4-497a-9ab7-7a37e6c39d5b" providerId="AD" clId="Web-{CFB2476E-2A02-844A-2A98-D63B8378E147}" dt="2024-01-25T18:43:07.293" v="30" actId="1076"/>
          <ac:spMkLst>
            <pc:docMk/>
            <pc:sldMk cId="1617559145" sldId="825"/>
            <ac:spMk id="7" creationId="{3AA2C132-6976-52A2-A4F0-D81D09CBB1EA}"/>
          </ac:spMkLst>
        </pc:spChg>
        <pc:picChg chg="mod">
          <ac:chgData name="Kiela Karina Moreno" userId="S::mpg7143@ads.northwestern.edu::1e897b35-0dd4-497a-9ab7-7a37e6c39d5b" providerId="AD" clId="Web-{CFB2476E-2A02-844A-2A98-D63B8378E147}" dt="2024-01-25T18:41:23.665" v="14" actId="1076"/>
          <ac:picMkLst>
            <pc:docMk/>
            <pc:sldMk cId="1617559145" sldId="825"/>
            <ac:picMk id="8" creationId="{F6AF464B-BCF9-C413-1A61-5938E8025FD8}"/>
          </ac:picMkLst>
        </pc:picChg>
        <pc:picChg chg="mod">
          <ac:chgData name="Kiela Karina Moreno" userId="S::mpg7143@ads.northwestern.edu::1e897b35-0dd4-497a-9ab7-7a37e6c39d5b" providerId="AD" clId="Web-{CFB2476E-2A02-844A-2A98-D63B8378E147}" dt="2024-01-25T18:42:24.838" v="23" actId="1076"/>
          <ac:picMkLst>
            <pc:docMk/>
            <pc:sldMk cId="1617559145" sldId="825"/>
            <ac:picMk id="9" creationId="{8553280F-F27E-3A70-1DDD-92D0DF0018F9}"/>
          </ac:picMkLst>
        </pc:picChg>
      </pc:sldChg>
      <pc:sldChg chg="del">
        <pc:chgData name="Kiela Karina Moreno" userId="S::mpg7143@ads.northwestern.edu::1e897b35-0dd4-497a-9ab7-7a37e6c39d5b" providerId="AD" clId="Web-{CFB2476E-2A02-844A-2A98-D63B8378E147}" dt="2024-01-25T18:40:37.788" v="1"/>
        <pc:sldMkLst>
          <pc:docMk/>
          <pc:sldMk cId="2263812282" sldId="856"/>
        </pc:sldMkLst>
      </pc:sldChg>
    </pc:docChg>
  </pc:docChgLst>
  <pc:docChgLst>
    <pc:chgData name="Kiela Karina Moreno" userId="S::mpg7143@ads.northwestern.edu::1e897b35-0dd4-497a-9ab7-7a37e6c39d5b" providerId="AD" clId="Web-{B6AB36B0-3E05-7D55-1E41-7456C876E56C}"/>
    <pc:docChg chg="modSld">
      <pc:chgData name="Kiela Karina Moreno" userId="S::mpg7143@ads.northwestern.edu::1e897b35-0dd4-497a-9ab7-7a37e6c39d5b" providerId="AD" clId="Web-{B6AB36B0-3E05-7D55-1E41-7456C876E56C}" dt="2024-02-07T16:53:25.274" v="40" actId="14100"/>
      <pc:docMkLst>
        <pc:docMk/>
      </pc:docMkLst>
      <pc:sldChg chg="modSp mod setBg">
        <pc:chgData name="Kiela Karina Moreno" userId="S::mpg7143@ads.northwestern.edu::1e897b35-0dd4-497a-9ab7-7a37e6c39d5b" providerId="AD" clId="Web-{B6AB36B0-3E05-7D55-1E41-7456C876E56C}" dt="2024-02-07T16:51:40.302" v="18" actId="1076"/>
        <pc:sldMkLst>
          <pc:docMk/>
          <pc:sldMk cId="777023516" sldId="851"/>
        </pc:sldMkLst>
        <pc:spChg chg="mod">
          <ac:chgData name="Kiela Karina Moreno" userId="S::mpg7143@ads.northwestern.edu::1e897b35-0dd4-497a-9ab7-7a37e6c39d5b" providerId="AD" clId="Web-{B6AB36B0-3E05-7D55-1E41-7456C876E56C}" dt="2024-02-07T16:51:36.130" v="17" actId="1076"/>
          <ac:spMkLst>
            <pc:docMk/>
            <pc:sldMk cId="777023516" sldId="851"/>
            <ac:spMk id="2" creationId="{9E8CD4B7-18A7-76E3-2CBA-3647A32E0C12}"/>
          </ac:spMkLst>
        </pc:spChg>
        <pc:spChg chg="mod">
          <ac:chgData name="Kiela Karina Moreno" userId="S::mpg7143@ads.northwestern.edu::1e897b35-0dd4-497a-9ab7-7a37e6c39d5b" providerId="AD" clId="Web-{B6AB36B0-3E05-7D55-1E41-7456C876E56C}" dt="2024-02-07T16:51:40.302" v="18" actId="1076"/>
          <ac:spMkLst>
            <pc:docMk/>
            <pc:sldMk cId="777023516" sldId="851"/>
            <ac:spMk id="3" creationId="{A068D812-8336-152D-B896-A021E583E31E}"/>
          </ac:spMkLst>
        </pc:spChg>
      </pc:sldChg>
      <pc:sldChg chg="addSp modSp">
        <pc:chgData name="Kiela Karina Moreno" userId="S::mpg7143@ads.northwestern.edu::1e897b35-0dd4-497a-9ab7-7a37e6c39d5b" providerId="AD" clId="Web-{B6AB36B0-3E05-7D55-1E41-7456C876E56C}" dt="2024-02-07T16:53:25.274" v="40" actId="14100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B6AB36B0-3E05-7D55-1E41-7456C876E56C}" dt="2024-02-07T16:53:03.945" v="36"/>
          <ac:spMkLst>
            <pc:docMk/>
            <pc:sldMk cId="1914631794" sldId="866"/>
            <ac:spMk id="2" creationId="{B8576EA4-3DF4-E9A6-5CD8-6AB4F95F4CBD}"/>
          </ac:spMkLst>
        </pc:spChg>
        <pc:spChg chg="mod">
          <ac:chgData name="Kiela Karina Moreno" userId="S::mpg7143@ads.northwestern.edu::1e897b35-0dd4-497a-9ab7-7a37e6c39d5b" providerId="AD" clId="Web-{B6AB36B0-3E05-7D55-1E41-7456C876E56C}" dt="2024-02-07T16:53:25.274" v="40" actId="14100"/>
          <ac:spMkLst>
            <pc:docMk/>
            <pc:sldMk cId="1914631794" sldId="866"/>
            <ac:spMk id="3" creationId="{5EC312F1-9F6E-D473-207C-7D9046AEEDE1}"/>
          </ac:spMkLst>
        </pc:spChg>
        <pc:spChg chg="mod">
          <ac:chgData name="Kiela Karina Moreno" userId="S::mpg7143@ads.northwestern.edu::1e897b35-0dd4-497a-9ab7-7a37e6c39d5b" providerId="AD" clId="Web-{B6AB36B0-3E05-7D55-1E41-7456C876E56C}" dt="2024-02-07T16:53:12.852" v="37" actId="1076"/>
          <ac:spMkLst>
            <pc:docMk/>
            <pc:sldMk cId="1914631794" sldId="866"/>
            <ac:spMk id="7" creationId="{A613F0CA-0B42-2365-025C-A56F8FFC9B87}"/>
          </ac:spMkLst>
        </pc:spChg>
        <pc:spChg chg="add mod">
          <ac:chgData name="Kiela Karina Moreno" userId="S::mpg7143@ads.northwestern.edu::1e897b35-0dd4-497a-9ab7-7a37e6c39d5b" providerId="AD" clId="Web-{B6AB36B0-3E05-7D55-1E41-7456C876E56C}" dt="2024-02-07T16:53:18.883" v="38" actId="1076"/>
          <ac:spMkLst>
            <pc:docMk/>
            <pc:sldMk cId="1914631794" sldId="866"/>
            <ac:spMk id="8" creationId="{E47F76B0-6B6E-EEFB-EB7C-CF553EF99CB9}"/>
          </ac:spMkLst>
        </pc:spChg>
      </pc:sldChg>
    </pc:docChg>
  </pc:docChgLst>
  <pc:docChgLst>
    <pc:chgData name="Patricia Ann Lee King" userId="S::pal094@ads.northwestern.edu::dbab7ec2-5444-4d21-afe7-a39974533ddc" providerId="AD" clId="Web-{8B8C1314-ED7C-BBE8-A71D-E1D81772AB25}"/>
    <pc:docChg chg="mod modSld">
      <pc:chgData name="Patricia Ann Lee King" userId="S::pal094@ads.northwestern.edu::dbab7ec2-5444-4d21-afe7-a39974533ddc" providerId="AD" clId="Web-{8B8C1314-ED7C-BBE8-A71D-E1D81772AB25}" dt="2024-02-19T16:33:44.567" v="145" actId="20577"/>
      <pc:docMkLst>
        <pc:docMk/>
      </pc:docMkLst>
      <pc:sldChg chg="modSp addCm">
        <pc:chgData name="Patricia Ann Lee King" userId="S::pal094@ads.northwestern.edu::dbab7ec2-5444-4d21-afe7-a39974533ddc" providerId="AD" clId="Web-{8B8C1314-ED7C-BBE8-A71D-E1D81772AB25}" dt="2024-02-19T16:33:44.567" v="145" actId="20577"/>
        <pc:sldMkLst>
          <pc:docMk/>
          <pc:sldMk cId="1549817843" sldId="859"/>
        </pc:sldMkLst>
        <pc:graphicFrameChg chg="modGraphic">
          <ac:chgData name="Patricia Ann Lee King" userId="S::pal094@ads.northwestern.edu::dbab7ec2-5444-4d21-afe7-a39974533ddc" providerId="AD" clId="Web-{8B8C1314-ED7C-BBE8-A71D-E1D81772AB25}" dt="2024-02-19T16:33:44.567" v="145" actId="20577"/>
          <ac:graphicFrameMkLst>
            <pc:docMk/>
            <pc:sldMk cId="1549817843" sldId="859"/>
            <ac:graphicFrameMk id="8" creationId="{B54B6C90-20D5-70F5-C8AE-13CFC82096BE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Patricia Ann Lee King" userId="S::pal094@ads.northwestern.edu::dbab7ec2-5444-4d21-afe7-a39974533ddc" providerId="AD" clId="Web-{8B8C1314-ED7C-BBE8-A71D-E1D81772AB25}" dt="2024-02-19T16:33:42.301" v="144"/>
              <pc2:cmMkLst xmlns:pc2="http://schemas.microsoft.com/office/powerpoint/2019/9/main/command">
                <pc:docMk/>
                <pc:sldMk cId="1549817843" sldId="859"/>
                <pc2:cmMk id="{5FCFC664-3D67-4394-B678-64E69722E1D3}"/>
              </pc2:cmMkLst>
            </pc226:cmChg>
          </p:ext>
        </pc:extLst>
      </pc:sldChg>
      <pc:sldChg chg="modSp">
        <pc:chgData name="Patricia Ann Lee King" userId="S::pal094@ads.northwestern.edu::dbab7ec2-5444-4d21-afe7-a39974533ddc" providerId="AD" clId="Web-{8B8C1314-ED7C-BBE8-A71D-E1D81772AB25}" dt="2024-02-19T16:28:48.061" v="66" actId="20577"/>
        <pc:sldMkLst>
          <pc:docMk/>
          <pc:sldMk cId="3358532880" sldId="860"/>
        </pc:sldMkLst>
        <pc:spChg chg="mod">
          <ac:chgData name="Patricia Ann Lee King" userId="S::pal094@ads.northwestern.edu::dbab7ec2-5444-4d21-afe7-a39974533ddc" providerId="AD" clId="Web-{8B8C1314-ED7C-BBE8-A71D-E1D81772AB25}" dt="2024-02-19T16:28:48.061" v="66" actId="20577"/>
          <ac:spMkLst>
            <pc:docMk/>
            <pc:sldMk cId="3358532880" sldId="860"/>
            <ac:spMk id="5" creationId="{AD69717A-2BD8-597E-FC87-0EB07ED0EC55}"/>
          </ac:spMkLst>
        </pc:spChg>
      </pc:sldChg>
    </pc:docChg>
  </pc:docChgLst>
  <pc:docChgLst>
    <pc:chgData name="Kiela Karina Moreno" userId="S::mpg7143@ads.northwestern.edu::1e897b35-0dd4-497a-9ab7-7a37e6c39d5b" providerId="AD" clId="Web-{9981645A-FCE3-75E3-E9A8-BE2C8F35E842}"/>
    <pc:docChg chg="addSld delSld modSld sldOrd">
      <pc:chgData name="Kiela Karina Moreno" userId="S::mpg7143@ads.northwestern.edu::1e897b35-0dd4-497a-9ab7-7a37e6c39d5b" providerId="AD" clId="Web-{9981645A-FCE3-75E3-E9A8-BE2C8F35E842}" dt="2024-02-18T01:39:34.012" v="1482"/>
      <pc:docMkLst>
        <pc:docMk/>
      </pc:docMkLst>
      <pc:sldChg chg="modSp modNotes">
        <pc:chgData name="Kiela Karina Moreno" userId="S::mpg7143@ads.northwestern.edu::1e897b35-0dd4-497a-9ab7-7a37e6c39d5b" providerId="AD" clId="Web-{9981645A-FCE3-75E3-E9A8-BE2C8F35E842}" dt="2024-02-18T01:25:21.176" v="1361"/>
        <pc:sldMkLst>
          <pc:docMk/>
          <pc:sldMk cId="2688480143" sldId="821"/>
        </pc:sldMkLst>
        <pc:spChg chg="mod">
          <ac:chgData name="Kiela Karina Moreno" userId="S::mpg7143@ads.northwestern.edu::1e897b35-0dd4-497a-9ab7-7a37e6c39d5b" providerId="AD" clId="Web-{9981645A-FCE3-75E3-E9A8-BE2C8F35E842}" dt="2024-02-17T23:09:58.203" v="237" actId="14100"/>
          <ac:spMkLst>
            <pc:docMk/>
            <pc:sldMk cId="2688480143" sldId="821"/>
            <ac:spMk id="4" creationId="{8F22AABC-2FAE-C746-BE44-74BD0DF24816}"/>
          </ac:spMkLst>
        </pc:spChg>
        <pc:spChg chg="mod">
          <ac:chgData name="Kiela Karina Moreno" userId="S::mpg7143@ads.northwestern.edu::1e897b35-0dd4-497a-9ab7-7a37e6c39d5b" providerId="AD" clId="Web-{9981645A-FCE3-75E3-E9A8-BE2C8F35E842}" dt="2024-02-17T23:09:21.640" v="233" actId="20577"/>
          <ac:spMkLst>
            <pc:docMk/>
            <pc:sldMk cId="2688480143" sldId="821"/>
            <ac:spMk id="12690" creationId="{00000000-0000-0000-0000-000000000000}"/>
          </ac:spMkLst>
        </pc:spChg>
      </pc:sldChg>
      <pc:sldChg chg="modSp addCm">
        <pc:chgData name="Kiela Karina Moreno" userId="S::mpg7143@ads.northwestern.edu::1e897b35-0dd4-497a-9ab7-7a37e6c39d5b" providerId="AD" clId="Web-{9981645A-FCE3-75E3-E9A8-BE2C8F35E842}" dt="2024-02-18T01:39:34.012" v="1482"/>
        <pc:sldMkLst>
          <pc:docMk/>
          <pc:sldMk cId="1549817843" sldId="859"/>
        </pc:sldMkLst>
        <pc:spChg chg="mod">
          <ac:chgData name="Kiela Karina Moreno" userId="S::mpg7143@ads.northwestern.edu::1e897b35-0dd4-497a-9ab7-7a37e6c39d5b" providerId="AD" clId="Web-{9981645A-FCE3-75E3-E9A8-BE2C8F35E842}" dt="2024-02-18T01:31:28.717" v="1422" actId="20577"/>
          <ac:spMkLst>
            <pc:docMk/>
            <pc:sldMk cId="1549817843" sldId="859"/>
            <ac:spMk id="5" creationId="{28EEFACB-0687-4B68-E7F7-2F8CEA153D40}"/>
          </ac:spMkLst>
        </pc:spChg>
        <pc:graphicFrameChg chg="mod modGraphic">
          <ac:chgData name="Kiela Karina Moreno" userId="S::mpg7143@ads.northwestern.edu::1e897b35-0dd4-497a-9ab7-7a37e6c39d5b" providerId="AD" clId="Web-{9981645A-FCE3-75E3-E9A8-BE2C8F35E842}" dt="2024-02-18T01:24:21.690" v="1281" actId="1076"/>
          <ac:graphicFrameMkLst>
            <pc:docMk/>
            <pc:sldMk cId="1549817843" sldId="859"/>
            <ac:graphicFrameMk id="8" creationId="{B54B6C90-20D5-70F5-C8AE-13CFC82096BE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Kiela Karina Moreno" userId="S::mpg7143@ads.northwestern.edu::1e897b35-0dd4-497a-9ab7-7a37e6c39d5b" providerId="AD" clId="Web-{9981645A-FCE3-75E3-E9A8-BE2C8F35E842}" dt="2024-02-18T01:39:34.012" v="1482"/>
              <pc2:cmMkLst xmlns:pc2="http://schemas.microsoft.com/office/powerpoint/2019/9/main/command">
                <pc:docMk/>
                <pc:sldMk cId="1549817843" sldId="859"/>
                <pc2:cmMk id="{871CD6B5-C642-41C2-994D-168230D8AF95}"/>
              </pc2:cmMkLst>
            </pc226:cmChg>
          </p:ext>
        </pc:extLst>
      </pc:sldChg>
      <pc:sldChg chg="addSp modSp modNotes">
        <pc:chgData name="Kiela Karina Moreno" userId="S::mpg7143@ads.northwestern.edu::1e897b35-0dd4-497a-9ab7-7a37e6c39d5b" providerId="AD" clId="Web-{9981645A-FCE3-75E3-E9A8-BE2C8F35E842}" dt="2024-02-18T01:37:56.056" v="1481" actId="1076"/>
        <pc:sldMkLst>
          <pc:docMk/>
          <pc:sldMk cId="3358532880" sldId="860"/>
        </pc:sldMkLst>
        <pc:spChg chg="mod">
          <ac:chgData name="Kiela Karina Moreno" userId="S::mpg7143@ads.northwestern.edu::1e897b35-0dd4-497a-9ab7-7a37e6c39d5b" providerId="AD" clId="Web-{9981645A-FCE3-75E3-E9A8-BE2C8F35E842}" dt="2024-02-18T01:35:53.364" v="1461" actId="1076"/>
          <ac:spMkLst>
            <pc:docMk/>
            <pc:sldMk cId="3358532880" sldId="860"/>
            <ac:spMk id="5" creationId="{AD69717A-2BD8-597E-FC87-0EB07ED0EC55}"/>
          </ac:spMkLst>
        </pc:spChg>
        <pc:spChg chg="mod">
          <ac:chgData name="Kiela Karina Moreno" userId="S::mpg7143@ads.northwestern.edu::1e897b35-0dd4-497a-9ab7-7a37e6c39d5b" providerId="AD" clId="Web-{9981645A-FCE3-75E3-E9A8-BE2C8F35E842}" dt="2024-02-18T01:36:18.302" v="1476" actId="1076"/>
          <ac:spMkLst>
            <pc:docMk/>
            <pc:sldMk cId="3358532880" sldId="860"/>
            <ac:spMk id="6" creationId="{0A19B7D0-D2C1-0E7C-DA5D-71EC98546092}"/>
          </ac:spMkLst>
        </pc:spChg>
        <pc:spChg chg="add mod">
          <ac:chgData name="Kiela Karina Moreno" userId="S::mpg7143@ads.northwestern.edu::1e897b35-0dd4-497a-9ab7-7a37e6c39d5b" providerId="AD" clId="Web-{9981645A-FCE3-75E3-E9A8-BE2C8F35E842}" dt="2024-02-18T01:37:56.056" v="1481" actId="1076"/>
          <ac:spMkLst>
            <pc:docMk/>
            <pc:sldMk cId="3358532880" sldId="860"/>
            <ac:spMk id="7" creationId="{BA4266CE-B096-D264-A082-FFA2D9C347F4}"/>
          </ac:spMkLst>
        </pc:spChg>
        <pc:picChg chg="mod modCrop">
          <ac:chgData name="Kiela Karina Moreno" userId="S::mpg7143@ads.northwestern.edu::1e897b35-0dd4-497a-9ab7-7a37e6c39d5b" providerId="AD" clId="Web-{9981645A-FCE3-75E3-E9A8-BE2C8F35E842}" dt="2024-02-18T01:36:21.161" v="1477" actId="1076"/>
          <ac:picMkLst>
            <pc:docMk/>
            <pc:sldMk cId="3358532880" sldId="860"/>
            <ac:picMk id="9" creationId="{A389B444-3A7F-CA7D-21D3-8CFAC5169525}"/>
          </ac:picMkLst>
        </pc:picChg>
      </pc:sldChg>
      <pc:sldChg chg="modSp">
        <pc:chgData name="Kiela Karina Moreno" userId="S::mpg7143@ads.northwestern.edu::1e897b35-0dd4-497a-9ab7-7a37e6c39d5b" providerId="AD" clId="Web-{9981645A-FCE3-75E3-E9A8-BE2C8F35E842}" dt="2024-02-18T01:36:33.505" v="1478" actId="1076"/>
        <pc:sldMkLst>
          <pc:docMk/>
          <pc:sldMk cId="3254557287" sldId="861"/>
        </pc:sldMkLst>
        <pc:spChg chg="mod">
          <ac:chgData name="Kiela Karina Moreno" userId="S::mpg7143@ads.northwestern.edu::1e897b35-0dd4-497a-9ab7-7a37e6c39d5b" providerId="AD" clId="Web-{9981645A-FCE3-75E3-E9A8-BE2C8F35E842}" dt="2024-02-18T00:27:44.887" v="790" actId="14100"/>
          <ac:spMkLst>
            <pc:docMk/>
            <pc:sldMk cId="3254557287" sldId="861"/>
            <ac:spMk id="5" creationId="{CC1A758B-11CF-30AA-57C3-72F03852AF49}"/>
          </ac:spMkLst>
        </pc:spChg>
        <pc:spChg chg="mod">
          <ac:chgData name="Kiela Karina Moreno" userId="S::mpg7143@ads.northwestern.edu::1e897b35-0dd4-497a-9ab7-7a37e6c39d5b" providerId="AD" clId="Web-{9981645A-FCE3-75E3-E9A8-BE2C8F35E842}" dt="2024-02-18T00:28:50.029" v="809" actId="20577"/>
          <ac:spMkLst>
            <pc:docMk/>
            <pc:sldMk cId="3254557287" sldId="861"/>
            <ac:spMk id="7" creationId="{00242547-8889-9F47-6186-47CBD0946F00}"/>
          </ac:spMkLst>
        </pc:spChg>
        <pc:picChg chg="mod modCrop">
          <ac:chgData name="Kiela Karina Moreno" userId="S::mpg7143@ads.northwestern.edu::1e897b35-0dd4-497a-9ab7-7a37e6c39d5b" providerId="AD" clId="Web-{9981645A-FCE3-75E3-E9A8-BE2C8F35E842}" dt="2024-02-18T01:36:33.505" v="1478" actId="1076"/>
          <ac:picMkLst>
            <pc:docMk/>
            <pc:sldMk cId="3254557287" sldId="861"/>
            <ac:picMk id="8" creationId="{C94C76DA-32C2-EFB4-2211-806DE110BA6E}"/>
          </ac:picMkLst>
        </pc:picChg>
      </pc:sldChg>
      <pc:sldChg chg="modNotes">
        <pc:chgData name="Kiela Karina Moreno" userId="S::mpg7143@ads.northwestern.edu::1e897b35-0dd4-497a-9ab7-7a37e6c39d5b" providerId="AD" clId="Web-{9981645A-FCE3-75E3-E9A8-BE2C8F35E842}" dt="2024-02-18T01:13:55.316" v="988"/>
        <pc:sldMkLst>
          <pc:docMk/>
          <pc:sldMk cId="2616071266" sldId="863"/>
        </pc:sldMkLst>
      </pc:sldChg>
      <pc:sldChg chg="modSp">
        <pc:chgData name="Kiela Karina Moreno" userId="S::mpg7143@ads.northwestern.edu::1e897b35-0dd4-497a-9ab7-7a37e6c39d5b" providerId="AD" clId="Web-{9981645A-FCE3-75E3-E9A8-BE2C8F35E842}" dt="2024-02-18T01:37:41.009" v="1480" actId="1076"/>
        <pc:sldMkLst>
          <pc:docMk/>
          <pc:sldMk cId="1914631794" sldId="866"/>
        </pc:sldMkLst>
        <pc:picChg chg="mod">
          <ac:chgData name="Kiela Karina Moreno" userId="S::mpg7143@ads.northwestern.edu::1e897b35-0dd4-497a-9ab7-7a37e6c39d5b" providerId="AD" clId="Web-{9981645A-FCE3-75E3-E9A8-BE2C8F35E842}" dt="2024-02-18T01:37:41.009" v="1480" actId="1076"/>
          <ac:picMkLst>
            <pc:docMk/>
            <pc:sldMk cId="1914631794" sldId="866"/>
            <ac:picMk id="15" creationId="{B23BFA5C-0258-C957-51A9-CB3D308C6E44}"/>
          </ac:picMkLst>
        </pc:picChg>
      </pc:sldChg>
      <pc:sldChg chg="modSp">
        <pc:chgData name="Kiela Karina Moreno" userId="S::mpg7143@ads.northwestern.edu::1e897b35-0dd4-497a-9ab7-7a37e6c39d5b" providerId="AD" clId="Web-{9981645A-FCE3-75E3-E9A8-BE2C8F35E842}" dt="2024-02-18T01:27:56.836" v="1375" actId="20577"/>
        <pc:sldMkLst>
          <pc:docMk/>
          <pc:sldMk cId="1548499057" sldId="867"/>
        </pc:sldMkLst>
        <pc:spChg chg="mod">
          <ac:chgData name="Kiela Karina Moreno" userId="S::mpg7143@ads.northwestern.edu::1e897b35-0dd4-497a-9ab7-7a37e6c39d5b" providerId="AD" clId="Web-{9981645A-FCE3-75E3-E9A8-BE2C8F35E842}" dt="2024-02-18T01:27:56.836" v="1375" actId="20577"/>
          <ac:spMkLst>
            <pc:docMk/>
            <pc:sldMk cId="1548499057" sldId="867"/>
            <ac:spMk id="7" creationId="{7C5994FE-ED51-DDC2-A1E8-43D1A63531A2}"/>
          </ac:spMkLst>
        </pc:spChg>
      </pc:sldChg>
      <pc:sldChg chg="addSp modSp">
        <pc:chgData name="Kiela Karina Moreno" userId="S::mpg7143@ads.northwestern.edu::1e897b35-0dd4-497a-9ab7-7a37e6c39d5b" providerId="AD" clId="Web-{9981645A-FCE3-75E3-E9A8-BE2C8F35E842}" dt="2024-02-18T01:27:31.367" v="1373"/>
        <pc:sldMkLst>
          <pc:docMk/>
          <pc:sldMk cId="927158119" sldId="868"/>
        </pc:sldMkLst>
        <pc:spChg chg="ord">
          <ac:chgData name="Kiela Karina Moreno" userId="S::mpg7143@ads.northwestern.edu::1e897b35-0dd4-497a-9ab7-7a37e6c39d5b" providerId="AD" clId="Web-{9981645A-FCE3-75E3-E9A8-BE2C8F35E842}" dt="2024-02-18T01:27:31.367" v="1373"/>
          <ac:spMkLst>
            <pc:docMk/>
            <pc:sldMk cId="927158119" sldId="868"/>
            <ac:spMk id="18" creationId="{5AC1364A-3E3D-4F0D-8776-78AF3A270DD6}"/>
          </ac:spMkLst>
        </pc:spChg>
        <pc:spChg chg="mod">
          <ac:chgData name="Kiela Karina Moreno" userId="S::mpg7143@ads.northwestern.edu::1e897b35-0dd4-497a-9ab7-7a37e6c39d5b" providerId="AD" clId="Web-{9981645A-FCE3-75E3-E9A8-BE2C8F35E842}" dt="2024-02-18T01:16:56.461" v="1043" actId="20577"/>
          <ac:spMkLst>
            <pc:docMk/>
            <pc:sldMk cId="927158119" sldId="868"/>
            <ac:spMk id="19" creationId="{67069FED-C0E1-E35D-880F-D0DB6EF5B8B3}"/>
          </ac:spMkLst>
        </pc:spChg>
        <pc:picChg chg="add mod ord">
          <ac:chgData name="Kiela Karina Moreno" userId="S::mpg7143@ads.northwestern.edu::1e897b35-0dd4-497a-9ab7-7a37e6c39d5b" providerId="AD" clId="Web-{9981645A-FCE3-75E3-E9A8-BE2C8F35E842}" dt="2024-02-18T01:27:26.258" v="1372"/>
          <ac:picMkLst>
            <pc:docMk/>
            <pc:sldMk cId="927158119" sldId="868"/>
            <ac:picMk id="6" creationId="{92AB256A-A87F-4E0A-D8BC-436D79660F8A}"/>
          </ac:picMkLst>
        </pc:picChg>
      </pc:sldChg>
      <pc:sldChg chg="modSp">
        <pc:chgData name="Kiela Karina Moreno" userId="S::mpg7143@ads.northwestern.edu::1e897b35-0dd4-497a-9ab7-7a37e6c39d5b" providerId="AD" clId="Web-{9981645A-FCE3-75E3-E9A8-BE2C8F35E842}" dt="2024-02-18T00:21:49.862" v="751" actId="20577"/>
        <pc:sldMkLst>
          <pc:docMk/>
          <pc:sldMk cId="2503595924" sldId="873"/>
        </pc:sldMkLst>
        <pc:spChg chg="mod">
          <ac:chgData name="Kiela Karina Moreno" userId="S::mpg7143@ads.northwestern.edu::1e897b35-0dd4-497a-9ab7-7a37e6c39d5b" providerId="AD" clId="Web-{9981645A-FCE3-75E3-E9A8-BE2C8F35E842}" dt="2024-02-18T00:21:49.862" v="751" actId="20577"/>
          <ac:spMkLst>
            <pc:docMk/>
            <pc:sldMk cId="2503595924" sldId="873"/>
            <ac:spMk id="6" creationId="{3BAEDEA5-EBC0-20F3-5139-AA49CBA25633}"/>
          </ac:spMkLst>
        </pc:spChg>
      </pc:sldChg>
      <pc:sldChg chg="modSp mod setBg">
        <pc:chgData name="Kiela Karina Moreno" userId="S::mpg7143@ads.northwestern.edu::1e897b35-0dd4-497a-9ab7-7a37e6c39d5b" providerId="AD" clId="Web-{9981645A-FCE3-75E3-E9A8-BE2C8F35E842}" dt="2024-02-17T23:51:51.026" v="250" actId="1076"/>
        <pc:sldMkLst>
          <pc:docMk/>
          <pc:sldMk cId="1134557211" sldId="885"/>
        </pc:sldMkLst>
        <pc:picChg chg="mod">
          <ac:chgData name="Kiela Karina Moreno" userId="S::mpg7143@ads.northwestern.edu::1e897b35-0dd4-497a-9ab7-7a37e6c39d5b" providerId="AD" clId="Web-{9981645A-FCE3-75E3-E9A8-BE2C8F35E842}" dt="2024-02-17T23:50:45.977" v="246" actId="14100"/>
          <ac:picMkLst>
            <pc:docMk/>
            <pc:sldMk cId="1134557211" sldId="885"/>
            <ac:picMk id="6" creationId="{C8C0844A-5A99-4779-A0E7-14F1C499F481}"/>
          </ac:picMkLst>
        </pc:picChg>
        <pc:picChg chg="mod">
          <ac:chgData name="Kiela Karina Moreno" userId="S::mpg7143@ads.northwestern.edu::1e897b35-0dd4-497a-9ab7-7a37e6c39d5b" providerId="AD" clId="Web-{9981645A-FCE3-75E3-E9A8-BE2C8F35E842}" dt="2024-02-17T23:51:51.026" v="250" actId="1076"/>
          <ac:picMkLst>
            <pc:docMk/>
            <pc:sldMk cId="1134557211" sldId="885"/>
            <ac:picMk id="7" creationId="{3A02A1E4-2D12-375F-8142-5E9491803311}"/>
          </ac:picMkLst>
        </pc:picChg>
      </pc:sldChg>
      <pc:sldChg chg="addSp delSp modSp modNotes">
        <pc:chgData name="Kiela Karina Moreno" userId="S::mpg7143@ads.northwestern.edu::1e897b35-0dd4-497a-9ab7-7a37e6c39d5b" providerId="AD" clId="Web-{9981645A-FCE3-75E3-E9A8-BE2C8F35E842}" dt="2024-02-18T01:34:13.221" v="1457" actId="1076"/>
        <pc:sldMkLst>
          <pc:docMk/>
          <pc:sldMk cId="1391034132" sldId="886"/>
        </pc:sldMkLst>
        <pc:spChg chg="add mod">
          <ac:chgData name="Kiela Karina Moreno" userId="S::mpg7143@ads.northwestern.edu::1e897b35-0dd4-497a-9ab7-7a37e6c39d5b" providerId="AD" clId="Web-{9981645A-FCE3-75E3-E9A8-BE2C8F35E842}" dt="2024-02-18T01:34:13.221" v="1457" actId="1076"/>
          <ac:spMkLst>
            <pc:docMk/>
            <pc:sldMk cId="1391034132" sldId="886"/>
            <ac:spMk id="3" creationId="{40452D33-5942-07C3-D137-C630431D992D}"/>
          </ac:spMkLst>
        </pc:spChg>
        <pc:spChg chg="del mod">
          <ac:chgData name="Kiela Karina Moreno" userId="S::mpg7143@ads.northwestern.edu::1e897b35-0dd4-497a-9ab7-7a37e6c39d5b" providerId="AD" clId="Web-{9981645A-FCE3-75E3-E9A8-BE2C8F35E842}" dt="2024-02-17T23:56:19.033" v="419"/>
          <ac:spMkLst>
            <pc:docMk/>
            <pc:sldMk cId="1391034132" sldId="886"/>
            <ac:spMk id="6" creationId="{5EC312F1-9F6E-D473-207C-7D9046AEEDE1}"/>
          </ac:spMkLst>
        </pc:spChg>
        <pc:spChg chg="mod">
          <ac:chgData name="Kiela Karina Moreno" userId="S::mpg7143@ads.northwestern.edu::1e897b35-0dd4-497a-9ab7-7a37e6c39d5b" providerId="AD" clId="Web-{9981645A-FCE3-75E3-E9A8-BE2C8F35E842}" dt="2024-02-18T01:34:09.330" v="1456" actId="1076"/>
          <ac:spMkLst>
            <pc:docMk/>
            <pc:sldMk cId="1391034132" sldId="886"/>
            <ac:spMk id="7" creationId="{E47F76B0-6B6E-EEFB-EB7C-CF553EF99CB9}"/>
          </ac:spMkLst>
        </pc:spChg>
        <pc:spChg chg="add mod">
          <ac:chgData name="Kiela Karina Moreno" userId="S::mpg7143@ads.northwestern.edu::1e897b35-0dd4-497a-9ab7-7a37e6c39d5b" providerId="AD" clId="Web-{9981645A-FCE3-75E3-E9A8-BE2C8F35E842}" dt="2024-02-18T00:04:00.311" v="511" actId="20577"/>
          <ac:spMkLst>
            <pc:docMk/>
            <pc:sldMk cId="1391034132" sldId="886"/>
            <ac:spMk id="8" creationId="{2669C9F0-2FF6-50E0-9253-363500557F9E}"/>
          </ac:spMkLst>
        </pc:spChg>
        <pc:spChg chg="add del">
          <ac:chgData name="Kiela Karina Moreno" userId="S::mpg7143@ads.northwestern.edu::1e897b35-0dd4-497a-9ab7-7a37e6c39d5b" providerId="AD" clId="Web-{9981645A-FCE3-75E3-E9A8-BE2C8F35E842}" dt="2024-02-17T23:58:10.208" v="450"/>
          <ac:spMkLst>
            <pc:docMk/>
            <pc:sldMk cId="1391034132" sldId="886"/>
            <ac:spMk id="9" creationId="{BAC9FCC7-6985-7C0E-D9AF-0978BCE01487}"/>
          </ac:spMkLst>
        </pc:spChg>
        <pc:spChg chg="add del">
          <ac:chgData name="Kiela Karina Moreno" userId="S::mpg7143@ads.northwestern.edu::1e897b35-0dd4-497a-9ab7-7a37e6c39d5b" providerId="AD" clId="Web-{9981645A-FCE3-75E3-E9A8-BE2C8F35E842}" dt="2024-02-17T23:59:15.913" v="452"/>
          <ac:spMkLst>
            <pc:docMk/>
            <pc:sldMk cId="1391034132" sldId="886"/>
            <ac:spMk id="10" creationId="{1CF48C0D-F203-FEFC-1D1F-1F79B9E6DFB7}"/>
          </ac:spMkLst>
        </pc:spChg>
        <pc:spChg chg="add del mod">
          <ac:chgData name="Kiela Karina Moreno" userId="S::mpg7143@ads.northwestern.edu::1e897b35-0dd4-497a-9ab7-7a37e6c39d5b" providerId="AD" clId="Web-{9981645A-FCE3-75E3-E9A8-BE2C8F35E842}" dt="2024-02-18T00:03:51.686" v="510"/>
          <ac:spMkLst>
            <pc:docMk/>
            <pc:sldMk cId="1391034132" sldId="886"/>
            <ac:spMk id="11" creationId="{5FFBC304-5C09-260B-3B23-7CA9C063E62B}"/>
          </ac:spMkLst>
        </pc:spChg>
        <pc:spChg chg="add mod">
          <ac:chgData name="Kiela Karina Moreno" userId="S::mpg7143@ads.northwestern.edu::1e897b35-0dd4-497a-9ab7-7a37e6c39d5b" providerId="AD" clId="Web-{9981645A-FCE3-75E3-E9A8-BE2C8F35E842}" dt="2024-02-18T01:34:02.955" v="1455" actId="14100"/>
          <ac:spMkLst>
            <pc:docMk/>
            <pc:sldMk cId="1391034132" sldId="886"/>
            <ac:spMk id="13" creationId="{7669B5E5-1AF4-7FD1-8CF4-25163B6A7048}"/>
          </ac:spMkLst>
        </pc:spChg>
      </pc:sldChg>
      <pc:sldChg chg="modSp del">
        <pc:chgData name="Kiela Karina Moreno" userId="S::mpg7143@ads.northwestern.edu::1e897b35-0dd4-497a-9ab7-7a37e6c39d5b" providerId="AD" clId="Web-{9981645A-FCE3-75E3-E9A8-BE2C8F35E842}" dt="2024-02-17T23:09:29.046" v="234"/>
        <pc:sldMkLst>
          <pc:docMk/>
          <pc:sldMk cId="3868503959" sldId="887"/>
        </pc:sldMkLst>
        <pc:spChg chg="mod">
          <ac:chgData name="Kiela Karina Moreno" userId="S::mpg7143@ads.northwestern.edu::1e897b35-0dd4-497a-9ab7-7a37e6c39d5b" providerId="AD" clId="Web-{9981645A-FCE3-75E3-E9A8-BE2C8F35E842}" dt="2024-02-17T23:04:09.226" v="185" actId="20577"/>
          <ac:spMkLst>
            <pc:docMk/>
            <pc:sldMk cId="3868503959" sldId="887"/>
            <ac:spMk id="3" creationId="{50AA21FC-907F-ADB5-D333-464CC1B68C46}"/>
          </ac:spMkLst>
        </pc:spChg>
        <pc:spChg chg="mod">
          <ac:chgData name="Kiela Karina Moreno" userId="S::mpg7143@ads.northwestern.edu::1e897b35-0dd4-497a-9ab7-7a37e6c39d5b" providerId="AD" clId="Web-{9981645A-FCE3-75E3-E9A8-BE2C8F35E842}" dt="2024-02-17T23:04:36.667" v="190" actId="20577"/>
          <ac:spMkLst>
            <pc:docMk/>
            <pc:sldMk cId="3868503959" sldId="887"/>
            <ac:spMk id="5" creationId="{274D469D-2A88-662E-DAE6-2B5B91F92284}"/>
          </ac:spMkLst>
        </pc:spChg>
      </pc:sldChg>
      <pc:sldChg chg="addSp delSp modSp modNotes">
        <pc:chgData name="Kiela Karina Moreno" userId="S::mpg7143@ads.northwestern.edu::1e897b35-0dd4-497a-9ab7-7a37e6c39d5b" providerId="AD" clId="Web-{9981645A-FCE3-75E3-E9A8-BE2C8F35E842}" dt="2024-02-18T01:14:19.332" v="1032"/>
        <pc:sldMkLst>
          <pc:docMk/>
          <pc:sldMk cId="2806931985" sldId="888"/>
        </pc:sldMkLst>
        <pc:spChg chg="del mod">
          <ac:chgData name="Kiela Karina Moreno" userId="S::mpg7143@ads.northwestern.edu::1e897b35-0dd4-497a-9ab7-7a37e6c39d5b" providerId="AD" clId="Web-{9981645A-FCE3-75E3-E9A8-BE2C8F35E842}" dt="2024-02-17T22:52:53.421" v="82"/>
          <ac:spMkLst>
            <pc:docMk/>
            <pc:sldMk cId="2806931985" sldId="888"/>
            <ac:spMk id="2" creationId="{F4FFC4FE-4460-3B96-3FAB-78D11A22DF5E}"/>
          </ac:spMkLst>
        </pc:spChg>
        <pc:spChg chg="add mod">
          <ac:chgData name="Kiela Karina Moreno" userId="S::mpg7143@ads.northwestern.edu::1e897b35-0dd4-497a-9ab7-7a37e6c39d5b" providerId="AD" clId="Web-{9981645A-FCE3-75E3-E9A8-BE2C8F35E842}" dt="2024-02-17T22:53:10.968" v="100" actId="14100"/>
          <ac:spMkLst>
            <pc:docMk/>
            <pc:sldMk cId="2806931985" sldId="888"/>
            <ac:spMk id="27" creationId="{880C80B2-984E-4C91-03F3-2781C2F14BCD}"/>
          </ac:spMkLst>
        </pc:spChg>
        <pc:spChg chg="add del mod">
          <ac:chgData name="Kiela Karina Moreno" userId="S::mpg7143@ads.northwestern.edu::1e897b35-0dd4-497a-9ab7-7a37e6c39d5b" providerId="AD" clId="Web-{9981645A-FCE3-75E3-E9A8-BE2C8F35E842}" dt="2024-02-17T22:52:56.327" v="83"/>
          <ac:spMkLst>
            <pc:docMk/>
            <pc:sldMk cId="2806931985" sldId="888"/>
            <ac:spMk id="29" creationId="{40C59052-08E2-93D3-B416-4808A9DF6571}"/>
          </ac:spMkLst>
        </pc:spChg>
      </pc:sldChg>
      <pc:sldChg chg="del ord">
        <pc:chgData name="Kiela Karina Moreno" userId="S::mpg7143@ads.northwestern.edu::1e897b35-0dd4-497a-9ab7-7a37e6c39d5b" providerId="AD" clId="Web-{9981645A-FCE3-75E3-E9A8-BE2C8F35E842}" dt="2024-02-18T00:29:57.953" v="812"/>
        <pc:sldMkLst>
          <pc:docMk/>
          <pc:sldMk cId="1128616829" sldId="889"/>
        </pc:sldMkLst>
      </pc:sldChg>
      <pc:sldChg chg="addSp delSp modSp modNotes">
        <pc:chgData name="Kiela Karina Moreno" userId="S::mpg7143@ads.northwestern.edu::1e897b35-0dd4-497a-9ab7-7a37e6c39d5b" providerId="AD" clId="Web-{9981645A-FCE3-75E3-E9A8-BE2C8F35E842}" dt="2024-02-18T01:24:50.426" v="1283"/>
        <pc:sldMkLst>
          <pc:docMk/>
          <pc:sldMk cId="907610433" sldId="890"/>
        </pc:sldMkLst>
        <pc:spChg chg="del">
          <ac:chgData name="Kiela Karina Moreno" userId="S::mpg7143@ads.northwestern.edu::1e897b35-0dd4-497a-9ab7-7a37e6c39d5b" providerId="AD" clId="Web-{9981645A-FCE3-75E3-E9A8-BE2C8F35E842}" dt="2024-02-17T22:54:31.656" v="155"/>
          <ac:spMkLst>
            <pc:docMk/>
            <pc:sldMk cId="907610433" sldId="890"/>
            <ac:spMk id="2" creationId="{709FE922-B2E3-12F6-553C-6DA9015B5344}"/>
          </ac:spMkLst>
        </pc:spChg>
        <pc:spChg chg="mod">
          <ac:chgData name="Kiela Karina Moreno" userId="S::mpg7143@ads.northwestern.edu::1e897b35-0dd4-497a-9ab7-7a37e6c39d5b" providerId="AD" clId="Web-{9981645A-FCE3-75E3-E9A8-BE2C8F35E842}" dt="2024-02-17T23:10:22.984" v="245" actId="20577"/>
          <ac:spMkLst>
            <pc:docMk/>
            <pc:sldMk cId="907610433" sldId="890"/>
            <ac:spMk id="3" creationId="{B45290FA-00E0-3681-0C93-59A8F1530EB0}"/>
          </ac:spMkLst>
        </pc:spChg>
        <pc:spChg chg="add mod">
          <ac:chgData name="Kiela Karina Moreno" userId="S::mpg7143@ads.northwestern.edu::1e897b35-0dd4-497a-9ab7-7a37e6c39d5b" providerId="AD" clId="Web-{9981645A-FCE3-75E3-E9A8-BE2C8F35E842}" dt="2024-02-17T22:55:07.938" v="168" actId="14100"/>
          <ac:spMkLst>
            <pc:docMk/>
            <pc:sldMk cId="907610433" sldId="890"/>
            <ac:spMk id="9" creationId="{3265B339-B96E-4570-B548-5EA9BDAA86FD}"/>
          </ac:spMkLst>
        </pc:spChg>
        <pc:spChg chg="add del mod">
          <ac:chgData name="Kiela Karina Moreno" userId="S::mpg7143@ads.northwestern.edu::1e897b35-0dd4-497a-9ab7-7a37e6c39d5b" providerId="AD" clId="Web-{9981645A-FCE3-75E3-E9A8-BE2C8F35E842}" dt="2024-02-17T22:54:34.531" v="157"/>
          <ac:spMkLst>
            <pc:docMk/>
            <pc:sldMk cId="907610433" sldId="890"/>
            <ac:spMk id="11" creationId="{13A61F66-0876-B5CF-98B6-597D0398D8E4}"/>
          </ac:spMkLst>
        </pc:spChg>
        <pc:picChg chg="add mod ord modCrop">
          <ac:chgData name="Kiela Karina Moreno" userId="S::mpg7143@ads.northwestern.edu::1e897b35-0dd4-497a-9ab7-7a37e6c39d5b" providerId="AD" clId="Web-{9981645A-FCE3-75E3-E9A8-BE2C8F35E842}" dt="2024-02-18T00:00:32.430" v="462"/>
          <ac:picMkLst>
            <pc:docMk/>
            <pc:sldMk cId="907610433" sldId="890"/>
            <ac:picMk id="2" creationId="{B63E9905-960F-FAC0-C5AF-19EC94BCB988}"/>
          </ac:picMkLst>
        </pc:picChg>
        <pc:picChg chg="del mod">
          <ac:chgData name="Kiela Karina Moreno" userId="S::mpg7143@ads.northwestern.edu::1e897b35-0dd4-497a-9ab7-7a37e6c39d5b" providerId="AD" clId="Web-{9981645A-FCE3-75E3-E9A8-BE2C8F35E842}" dt="2024-02-17T23:05:57.325" v="194"/>
          <ac:picMkLst>
            <pc:docMk/>
            <pc:sldMk cId="907610433" sldId="890"/>
            <ac:picMk id="7" creationId="{F1B00279-A15D-40E9-6BDC-5C1FA48E8B73}"/>
          </ac:picMkLst>
        </pc:picChg>
      </pc:sldChg>
      <pc:sldChg chg="modSp del">
        <pc:chgData name="Kiela Karina Moreno" userId="S::mpg7143@ads.northwestern.edu::1e897b35-0dd4-497a-9ab7-7a37e6c39d5b" providerId="AD" clId="Web-{9981645A-FCE3-75E3-E9A8-BE2C8F35E842}" dt="2024-02-18T01:29:39.495" v="1389"/>
        <pc:sldMkLst>
          <pc:docMk/>
          <pc:sldMk cId="2146925144" sldId="891"/>
        </pc:sldMkLst>
        <pc:spChg chg="mod">
          <ac:chgData name="Kiela Karina Moreno" userId="S::mpg7143@ads.northwestern.edu::1e897b35-0dd4-497a-9ab7-7a37e6c39d5b" providerId="AD" clId="Web-{9981645A-FCE3-75E3-E9A8-BE2C8F35E842}" dt="2024-02-18T01:29:23.885" v="1387" actId="14100"/>
          <ac:spMkLst>
            <pc:docMk/>
            <pc:sldMk cId="2146925144" sldId="891"/>
            <ac:spMk id="5" creationId="{43E3BE9F-AD4F-A413-FAF6-A3C43A34FFE9}"/>
          </ac:spMkLst>
        </pc:spChg>
      </pc:sldChg>
      <pc:sldChg chg="modCm">
        <pc:chgData name="Kiela Karina Moreno" userId="S::mpg7143@ads.northwestern.edu::1e897b35-0dd4-497a-9ab7-7a37e6c39d5b" providerId="AD" clId="Web-{9981645A-FCE3-75E3-E9A8-BE2C8F35E842}" dt="2024-02-18T00:21:04.798" v="745"/>
        <pc:sldMkLst>
          <pc:docMk/>
          <pc:sldMk cId="669186710" sldId="89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iela Karina Moreno" userId="S::mpg7143@ads.northwestern.edu::1e897b35-0dd4-497a-9ab7-7a37e6c39d5b" providerId="AD" clId="Web-{9981645A-FCE3-75E3-E9A8-BE2C8F35E842}" dt="2024-02-18T00:21:04.798" v="745"/>
              <pc2:cmMkLst xmlns:pc2="http://schemas.microsoft.com/office/powerpoint/2019/9/main/command">
                <pc:docMk/>
                <pc:sldMk cId="669186710" sldId="893"/>
                <pc2:cmMk id="{1E42278D-D952-44AD-8EF6-2C0F110B051C}"/>
              </pc2:cmMkLst>
            </pc226:cmChg>
          </p:ext>
        </pc:extLst>
      </pc:sldChg>
      <pc:sldChg chg="modSp">
        <pc:chgData name="Kiela Karina Moreno" userId="S::mpg7143@ads.northwestern.edu::1e897b35-0dd4-497a-9ab7-7a37e6c39d5b" providerId="AD" clId="Web-{9981645A-FCE3-75E3-E9A8-BE2C8F35E842}" dt="2024-02-18T01:37:34.228" v="1479" actId="1076"/>
        <pc:sldMkLst>
          <pc:docMk/>
          <pc:sldMk cId="1799103150" sldId="894"/>
        </pc:sldMkLst>
        <pc:spChg chg="mod">
          <ac:chgData name="Kiela Karina Moreno" userId="S::mpg7143@ads.northwestern.edu::1e897b35-0dd4-497a-9ab7-7a37e6c39d5b" providerId="AD" clId="Web-{9981645A-FCE3-75E3-E9A8-BE2C8F35E842}" dt="2024-02-18T01:33:18.157" v="1452" actId="1076"/>
          <ac:spMkLst>
            <pc:docMk/>
            <pc:sldMk cId="1799103150" sldId="894"/>
            <ac:spMk id="13" creationId="{9274830F-B6C8-51E5-A697-EDDDB56FB103}"/>
          </ac:spMkLst>
        </pc:spChg>
        <pc:picChg chg="mod">
          <ac:chgData name="Kiela Karina Moreno" userId="S::mpg7143@ads.northwestern.edu::1e897b35-0dd4-497a-9ab7-7a37e6c39d5b" providerId="AD" clId="Web-{9981645A-FCE3-75E3-E9A8-BE2C8F35E842}" dt="2024-02-18T01:37:34.228" v="1479" actId="1076"/>
          <ac:picMkLst>
            <pc:docMk/>
            <pc:sldMk cId="1799103150" sldId="894"/>
            <ac:picMk id="9" creationId="{CE34D3AF-FAA9-131B-87BA-3F91EB23F267}"/>
          </ac:picMkLst>
        </pc:picChg>
        <pc:picChg chg="mod">
          <ac:chgData name="Kiela Karina Moreno" userId="S::mpg7143@ads.northwestern.edu::1e897b35-0dd4-497a-9ab7-7a37e6c39d5b" providerId="AD" clId="Web-{9981645A-FCE3-75E3-E9A8-BE2C8F35E842}" dt="2024-02-18T01:33:12.500" v="1451" actId="1076"/>
          <ac:picMkLst>
            <pc:docMk/>
            <pc:sldMk cId="1799103150" sldId="894"/>
            <ac:picMk id="14" creationId="{B12F179E-14C3-0E6D-91D2-F9F147F41ED6}"/>
          </ac:picMkLst>
        </pc:picChg>
      </pc:sldChg>
      <pc:sldChg chg="modSp add ord replId">
        <pc:chgData name="Kiela Karina Moreno" userId="S::mpg7143@ads.northwestern.edu::1e897b35-0dd4-497a-9ab7-7a37e6c39d5b" providerId="AD" clId="Web-{9981645A-FCE3-75E3-E9A8-BE2C8F35E842}" dt="2024-02-17T23:52:43.277" v="253" actId="14100"/>
        <pc:sldMkLst>
          <pc:docMk/>
          <pc:sldMk cId="1666307280" sldId="895"/>
        </pc:sldMkLst>
        <pc:spChg chg="mod">
          <ac:chgData name="Kiela Karina Moreno" userId="S::mpg7143@ads.northwestern.edu::1e897b35-0dd4-497a-9ab7-7a37e6c39d5b" providerId="AD" clId="Web-{9981645A-FCE3-75E3-E9A8-BE2C8F35E842}" dt="2024-02-17T23:52:43.277" v="253" actId="14100"/>
          <ac:spMkLst>
            <pc:docMk/>
            <pc:sldMk cId="1666307280" sldId="895"/>
            <ac:spMk id="4" creationId="{DE23CA24-BB1C-352E-DF4F-F62D3865BC86}"/>
          </ac:spMkLst>
        </pc:spChg>
      </pc:sldChg>
      <pc:sldChg chg="addSp delSp modSp add mod replId setBg">
        <pc:chgData name="Kiela Karina Moreno" userId="S::mpg7143@ads.northwestern.edu::1e897b35-0dd4-497a-9ab7-7a37e6c39d5b" providerId="AD" clId="Web-{9981645A-FCE3-75E3-E9A8-BE2C8F35E842}" dt="2024-02-18T01:29:58.105" v="1394" actId="1076"/>
        <pc:sldMkLst>
          <pc:docMk/>
          <pc:sldMk cId="2069462662" sldId="896"/>
        </pc:sldMkLst>
        <pc:spChg chg="del">
          <ac:chgData name="Kiela Karina Moreno" userId="S::mpg7143@ads.northwestern.edu::1e897b35-0dd4-497a-9ab7-7a37e6c39d5b" providerId="AD" clId="Web-{9981645A-FCE3-75E3-E9A8-BE2C8F35E842}" dt="2024-02-18T01:28:49.963" v="1380"/>
          <ac:spMkLst>
            <pc:docMk/>
            <pc:sldMk cId="2069462662" sldId="896"/>
            <ac:spMk id="3" creationId="{40452D33-5942-07C3-D137-C630431D992D}"/>
          </ac:spMkLst>
        </pc:spChg>
        <pc:spChg chg="del">
          <ac:chgData name="Kiela Karina Moreno" userId="S::mpg7143@ads.northwestern.edu::1e897b35-0dd4-497a-9ab7-7a37e6c39d5b" providerId="AD" clId="Web-{9981645A-FCE3-75E3-E9A8-BE2C8F35E842}" dt="2024-02-18T01:28:49.963" v="1381"/>
          <ac:spMkLst>
            <pc:docMk/>
            <pc:sldMk cId="2069462662" sldId="896"/>
            <ac:spMk id="7" creationId="{E47F76B0-6B6E-EEFB-EB7C-CF553EF99CB9}"/>
          </ac:spMkLst>
        </pc:spChg>
        <pc:spChg chg="del">
          <ac:chgData name="Kiela Karina Moreno" userId="S::mpg7143@ads.northwestern.edu::1e897b35-0dd4-497a-9ab7-7a37e6c39d5b" providerId="AD" clId="Web-{9981645A-FCE3-75E3-E9A8-BE2C8F35E842}" dt="2024-02-18T01:28:49.963" v="1379"/>
          <ac:spMkLst>
            <pc:docMk/>
            <pc:sldMk cId="2069462662" sldId="896"/>
            <ac:spMk id="8" creationId="{2669C9F0-2FF6-50E0-9253-363500557F9E}"/>
          </ac:spMkLst>
        </pc:spChg>
        <pc:spChg chg="del">
          <ac:chgData name="Kiela Karina Moreno" userId="S::mpg7143@ads.northwestern.edu::1e897b35-0dd4-497a-9ab7-7a37e6c39d5b" providerId="AD" clId="Web-{9981645A-FCE3-75E3-E9A8-BE2C8F35E842}" dt="2024-02-18T01:28:49.963" v="1378"/>
          <ac:spMkLst>
            <pc:docMk/>
            <pc:sldMk cId="2069462662" sldId="896"/>
            <ac:spMk id="13" creationId="{7669B5E5-1AF4-7FD1-8CF4-25163B6A7048}"/>
          </ac:spMkLst>
        </pc:spChg>
        <pc:spChg chg="add mod">
          <ac:chgData name="Kiela Karina Moreno" userId="S::mpg7143@ads.northwestern.edu::1e897b35-0dd4-497a-9ab7-7a37e6c39d5b" providerId="AD" clId="Web-{9981645A-FCE3-75E3-E9A8-BE2C8F35E842}" dt="2024-02-18T01:29:54.480" v="1393" actId="20577"/>
          <ac:spMkLst>
            <pc:docMk/>
            <pc:sldMk cId="2069462662" sldId="896"/>
            <ac:spMk id="15" creationId="{82C2383D-DDA8-FCDA-FBDD-1B84FE5EDB56}"/>
          </ac:spMkLst>
        </pc:spChg>
        <pc:picChg chg="add mod">
          <ac:chgData name="Kiela Karina Moreno" userId="S::mpg7143@ads.northwestern.edu::1e897b35-0dd4-497a-9ab7-7a37e6c39d5b" providerId="AD" clId="Web-{9981645A-FCE3-75E3-E9A8-BE2C8F35E842}" dt="2024-02-18T01:29:58.105" v="1394" actId="1076"/>
          <ac:picMkLst>
            <pc:docMk/>
            <pc:sldMk cId="2069462662" sldId="896"/>
            <ac:picMk id="6" creationId="{2B26EC16-A487-421E-775C-476A2F375BAF}"/>
          </ac:picMkLst>
        </pc:picChg>
        <pc:picChg chg="add del">
          <ac:chgData name="Kiela Karina Moreno" userId="S::mpg7143@ads.northwestern.edu::1e897b35-0dd4-497a-9ab7-7a37e6c39d5b" providerId="AD" clId="Web-{9981645A-FCE3-75E3-E9A8-BE2C8F35E842}" dt="2024-02-18T01:29:03.401" v="1384"/>
          <ac:picMkLst>
            <pc:docMk/>
            <pc:sldMk cId="2069462662" sldId="896"/>
            <ac:picMk id="10" creationId="{546A040F-B9A5-AB5B-F9F4-FB38A2B15D79}"/>
          </ac:picMkLst>
        </pc:picChg>
        <pc:picChg chg="add del">
          <ac:chgData name="Kiela Karina Moreno" userId="S::mpg7143@ads.northwestern.edu::1e897b35-0dd4-497a-9ab7-7a37e6c39d5b" providerId="AD" clId="Web-{9981645A-FCE3-75E3-E9A8-BE2C8F35E842}" dt="2024-02-18T01:29:13.995" v="1386"/>
          <ac:picMkLst>
            <pc:docMk/>
            <pc:sldMk cId="2069462662" sldId="896"/>
            <ac:picMk id="12" creationId="{15E755B2-D3F1-49E0-F06A-D05BC9121ADD}"/>
          </ac:picMkLst>
        </pc:picChg>
      </pc:sldChg>
    </pc:docChg>
  </pc:docChgLst>
  <pc:docChgLst>
    <pc:chgData name="Eileen Fleming Suse" userId="S::efs3844@ads.northwestern.edu::725c94ef-d051-42d7-9d33-8572765d592b" providerId="AD" clId="Web-{8B318C65-FBAF-E952-0433-A927E4880EA5}"/>
    <pc:docChg chg="addSld modSld">
      <pc:chgData name="Eileen Fleming Suse" userId="S::efs3844@ads.northwestern.edu::725c94ef-d051-42d7-9d33-8572765d592b" providerId="AD" clId="Web-{8B318C65-FBAF-E952-0433-A927E4880EA5}" dt="2024-02-12T20:12:49.612" v="100"/>
      <pc:docMkLst>
        <pc:docMk/>
      </pc:docMkLst>
      <pc:sldChg chg="addSp delSp modSp mod modClrScheme chgLayout">
        <pc:chgData name="Eileen Fleming Suse" userId="S::efs3844@ads.northwestern.edu::725c94ef-d051-42d7-9d33-8572765d592b" providerId="AD" clId="Web-{8B318C65-FBAF-E952-0433-A927E4880EA5}" dt="2024-02-12T20:03:14.806" v="84" actId="1076"/>
        <pc:sldMkLst>
          <pc:docMk/>
          <pc:sldMk cId="3127921386" sldId="280"/>
        </pc:sldMkLst>
        <pc:spChg chg="mod ord">
          <ac:chgData name="Eileen Fleming Suse" userId="S::efs3844@ads.northwestern.edu::725c94ef-d051-42d7-9d33-8572765d592b" providerId="AD" clId="Web-{8B318C65-FBAF-E952-0433-A927E4880EA5}" dt="2024-02-12T20:03:14.806" v="84" actId="1076"/>
          <ac:spMkLst>
            <pc:docMk/>
            <pc:sldMk cId="3127921386" sldId="280"/>
            <ac:spMk id="3" creationId="{1D742501-F937-8041-84E5-748F96AE991B}"/>
          </ac:spMkLst>
        </pc:spChg>
        <pc:spChg chg="add del mod ord">
          <ac:chgData name="Eileen Fleming Suse" userId="S::efs3844@ads.northwestern.edu::725c94ef-d051-42d7-9d33-8572765d592b" providerId="AD" clId="Web-{8B318C65-FBAF-E952-0433-A927E4880EA5}" dt="2024-02-12T20:03:09.774" v="83"/>
          <ac:spMkLst>
            <pc:docMk/>
            <pc:sldMk cId="3127921386" sldId="280"/>
            <ac:spMk id="4" creationId="{15299138-305C-D504-360A-4BEA344483A7}"/>
          </ac:spMkLst>
        </pc:spChg>
        <pc:spChg chg="add mod ord">
          <ac:chgData name="Eileen Fleming Suse" userId="S::efs3844@ads.northwestern.edu::725c94ef-d051-42d7-9d33-8572765d592b" providerId="AD" clId="Web-{8B318C65-FBAF-E952-0433-A927E4880EA5}" dt="2024-02-12T20:02:56.445" v="79"/>
          <ac:spMkLst>
            <pc:docMk/>
            <pc:sldMk cId="3127921386" sldId="280"/>
            <ac:spMk id="10" creationId="{BDFDA8B4-8D39-5B4D-3C3E-1144A20A36D2}"/>
          </ac:spMkLst>
        </pc:spChg>
        <pc:picChg chg="del">
          <ac:chgData name="Eileen Fleming Suse" userId="S::efs3844@ads.northwestern.edu::725c94ef-d051-42d7-9d33-8572765d592b" providerId="AD" clId="Web-{8B318C65-FBAF-E952-0433-A927E4880EA5}" dt="2024-02-12T20:03:01.258" v="80"/>
          <ac:picMkLst>
            <pc:docMk/>
            <pc:sldMk cId="3127921386" sldId="280"/>
            <ac:picMk id="8" creationId="{6FB1D555-045A-62E4-5B91-1CF4B21CA145}"/>
          </ac:picMkLst>
        </pc:picChg>
      </pc:sldChg>
      <pc:sldChg chg="addSp modSp mod modClrScheme chgLayout">
        <pc:chgData name="Eileen Fleming Suse" userId="S::efs3844@ads.northwestern.edu::725c94ef-d051-42d7-9d33-8572765d592b" providerId="AD" clId="Web-{8B318C65-FBAF-E952-0433-A927E4880EA5}" dt="2024-02-12T20:12:49.612" v="100"/>
        <pc:sldMkLst>
          <pc:docMk/>
          <pc:sldMk cId="1341783838" sldId="848"/>
        </pc:sldMkLst>
        <pc:spChg chg="mod ord">
          <ac:chgData name="Eileen Fleming Suse" userId="S::efs3844@ads.northwestern.edu::725c94ef-d051-42d7-9d33-8572765d592b" providerId="AD" clId="Web-{8B318C65-FBAF-E952-0433-A927E4880EA5}" dt="2024-02-12T20:12:49.612" v="100"/>
          <ac:spMkLst>
            <pc:docMk/>
            <pc:sldMk cId="1341783838" sldId="848"/>
            <ac:spMk id="2" creationId="{304FC3E6-8E03-4AD0-DC5A-624DF52B6ED0}"/>
          </ac:spMkLst>
        </pc:spChg>
        <pc:spChg chg="add mod ord">
          <ac:chgData name="Eileen Fleming Suse" userId="S::efs3844@ads.northwestern.edu::725c94ef-d051-42d7-9d33-8572765d592b" providerId="AD" clId="Web-{8B318C65-FBAF-E952-0433-A927E4880EA5}" dt="2024-02-12T20:12:49.612" v="100"/>
          <ac:spMkLst>
            <pc:docMk/>
            <pc:sldMk cId="1341783838" sldId="848"/>
            <ac:spMk id="3" creationId="{B42B277B-F937-CA14-296D-CB742577E78B}"/>
          </ac:spMkLst>
        </pc:spChg>
      </pc:sldChg>
      <pc:sldChg chg="modSp mod modClrScheme chgLayout">
        <pc:chgData name="Eileen Fleming Suse" userId="S::efs3844@ads.northwestern.edu::725c94ef-d051-42d7-9d33-8572765d592b" providerId="AD" clId="Web-{8B318C65-FBAF-E952-0433-A927E4880EA5}" dt="2024-02-12T20:12:37.471" v="99"/>
        <pc:sldMkLst>
          <pc:docMk/>
          <pc:sldMk cId="777023516" sldId="851"/>
        </pc:sldMkLst>
        <pc:spChg chg="mod ord">
          <ac:chgData name="Eileen Fleming Suse" userId="S::efs3844@ads.northwestern.edu::725c94ef-d051-42d7-9d33-8572765d592b" providerId="AD" clId="Web-{8B318C65-FBAF-E952-0433-A927E4880EA5}" dt="2024-02-12T20:12:37.471" v="99"/>
          <ac:spMkLst>
            <pc:docMk/>
            <pc:sldMk cId="777023516" sldId="851"/>
            <ac:spMk id="2" creationId="{9E8CD4B7-18A7-76E3-2CBA-3647A32E0C12}"/>
          </ac:spMkLst>
        </pc:spChg>
        <pc:spChg chg="mod ord">
          <ac:chgData name="Eileen Fleming Suse" userId="S::efs3844@ads.northwestern.edu::725c94ef-d051-42d7-9d33-8572765d592b" providerId="AD" clId="Web-{8B318C65-FBAF-E952-0433-A927E4880EA5}" dt="2024-02-12T20:12:37.471" v="99"/>
          <ac:spMkLst>
            <pc:docMk/>
            <pc:sldMk cId="777023516" sldId="851"/>
            <ac:spMk id="3" creationId="{A068D812-8336-152D-B896-A021E583E31E}"/>
          </ac:spMkLst>
        </pc:spChg>
      </pc:sldChg>
      <pc:sldChg chg="addSp modSp mod modClrScheme chgLayout">
        <pc:chgData name="Eileen Fleming Suse" userId="S::efs3844@ads.northwestern.edu::725c94ef-d051-42d7-9d33-8572765d592b" providerId="AD" clId="Web-{8B318C65-FBAF-E952-0433-A927E4880EA5}" dt="2024-02-12T20:03:26.447" v="85"/>
        <pc:sldMkLst>
          <pc:docMk/>
          <pc:sldMk cId="1210022179" sldId="858"/>
        </pc:sldMkLst>
        <pc:spChg chg="mod ord">
          <ac:chgData name="Eileen Fleming Suse" userId="S::efs3844@ads.northwestern.edu::725c94ef-d051-42d7-9d33-8572765d592b" providerId="AD" clId="Web-{8B318C65-FBAF-E952-0433-A927E4880EA5}" dt="2024-02-12T20:03:26.447" v="85"/>
          <ac:spMkLst>
            <pc:docMk/>
            <pc:sldMk cId="1210022179" sldId="858"/>
            <ac:spMk id="2" creationId="{A6FAA70D-3B97-AAF4-599A-5BEF539C23CA}"/>
          </ac:spMkLst>
        </pc:spChg>
        <pc:spChg chg="mod ord">
          <ac:chgData name="Eileen Fleming Suse" userId="S::efs3844@ads.northwestern.edu::725c94ef-d051-42d7-9d33-8572765d592b" providerId="AD" clId="Web-{8B318C65-FBAF-E952-0433-A927E4880EA5}" dt="2024-02-12T20:03:26.447" v="85"/>
          <ac:spMkLst>
            <pc:docMk/>
            <pc:sldMk cId="1210022179" sldId="858"/>
            <ac:spMk id="4" creationId="{DB148D1D-0EE2-FC94-7AFE-82D9E9F0BFFD}"/>
          </ac:spMkLst>
        </pc:spChg>
        <pc:spChg chg="mod ord">
          <ac:chgData name="Eileen Fleming Suse" userId="S::efs3844@ads.northwestern.edu::725c94ef-d051-42d7-9d33-8572765d592b" providerId="AD" clId="Web-{8B318C65-FBAF-E952-0433-A927E4880EA5}" dt="2024-02-12T20:03:26.447" v="85"/>
          <ac:spMkLst>
            <pc:docMk/>
            <pc:sldMk cId="1210022179" sldId="858"/>
            <ac:spMk id="5" creationId="{AE74FBFB-1843-9ED4-705E-449C6A1AC847}"/>
          </ac:spMkLst>
        </pc:spChg>
        <pc:spChg chg="add mod ord">
          <ac:chgData name="Eileen Fleming Suse" userId="S::efs3844@ads.northwestern.edu::725c94ef-d051-42d7-9d33-8572765d592b" providerId="AD" clId="Web-{8B318C65-FBAF-E952-0433-A927E4880EA5}" dt="2024-02-12T20:03:26.447" v="85"/>
          <ac:spMkLst>
            <pc:docMk/>
            <pc:sldMk cId="1210022179" sldId="858"/>
            <ac:spMk id="7" creationId="{F6C87363-B1CB-AD91-CF0A-B0BCC79DDCC5}"/>
          </ac:spMkLst>
        </pc:spChg>
        <pc:spChg chg="add mod ord">
          <ac:chgData name="Eileen Fleming Suse" userId="S::efs3844@ads.northwestern.edu::725c94ef-d051-42d7-9d33-8572765d592b" providerId="AD" clId="Web-{8B318C65-FBAF-E952-0433-A927E4880EA5}" dt="2024-02-12T20:03:26.447" v="85"/>
          <ac:spMkLst>
            <pc:docMk/>
            <pc:sldMk cId="1210022179" sldId="858"/>
            <ac:spMk id="9" creationId="{C874A67E-9B5B-2D23-C688-6157CEE71F2B}"/>
          </ac:spMkLst>
        </pc:spChg>
      </pc:sldChg>
      <pc:sldChg chg="addSp modSp mod modClrScheme chgLayout">
        <pc:chgData name="Eileen Fleming Suse" userId="S::efs3844@ads.northwestern.edu::725c94ef-d051-42d7-9d33-8572765d592b" providerId="AD" clId="Web-{8B318C65-FBAF-E952-0433-A927E4880EA5}" dt="2024-02-12T20:05:43.234" v="93"/>
        <pc:sldMkLst>
          <pc:docMk/>
          <pc:sldMk cId="2947401908" sldId="865"/>
        </pc:sldMkLst>
        <pc:spChg chg="mod ord">
          <ac:chgData name="Eileen Fleming Suse" userId="S::efs3844@ads.northwestern.edu::725c94ef-d051-42d7-9d33-8572765d592b" providerId="AD" clId="Web-{8B318C65-FBAF-E952-0433-A927E4880EA5}" dt="2024-02-12T20:05:43.234" v="93"/>
          <ac:spMkLst>
            <pc:docMk/>
            <pc:sldMk cId="2947401908" sldId="865"/>
            <ac:spMk id="2" creationId="{3DDA825D-4829-111F-EAFA-DD3F2F2D6B3C}"/>
          </ac:spMkLst>
        </pc:spChg>
        <pc:spChg chg="add mod ord">
          <ac:chgData name="Eileen Fleming Suse" userId="S::efs3844@ads.northwestern.edu::725c94ef-d051-42d7-9d33-8572765d592b" providerId="AD" clId="Web-{8B318C65-FBAF-E952-0433-A927E4880EA5}" dt="2024-02-12T20:05:43.234" v="93"/>
          <ac:spMkLst>
            <pc:docMk/>
            <pc:sldMk cId="2947401908" sldId="865"/>
            <ac:spMk id="3" creationId="{32CFAA58-55F3-3F40-7566-343BCFDBDB4D}"/>
          </ac:spMkLst>
        </pc:spChg>
        <pc:spChg chg="mod ord">
          <ac:chgData name="Eileen Fleming Suse" userId="S::efs3844@ads.northwestern.edu::725c94ef-d051-42d7-9d33-8572765d592b" providerId="AD" clId="Web-{8B318C65-FBAF-E952-0433-A927E4880EA5}" dt="2024-02-12T20:05:43.234" v="93"/>
          <ac:spMkLst>
            <pc:docMk/>
            <pc:sldMk cId="2947401908" sldId="865"/>
            <ac:spMk id="4" creationId="{BD72B2B2-E382-324A-D01A-5D69771462DE}"/>
          </ac:spMkLst>
        </pc:spChg>
        <pc:spChg chg="mod ord">
          <ac:chgData name="Eileen Fleming Suse" userId="S::efs3844@ads.northwestern.edu::725c94ef-d051-42d7-9d33-8572765d592b" providerId="AD" clId="Web-{8B318C65-FBAF-E952-0433-A927E4880EA5}" dt="2024-02-12T20:05:43.234" v="93"/>
          <ac:spMkLst>
            <pc:docMk/>
            <pc:sldMk cId="2947401908" sldId="865"/>
            <ac:spMk id="5" creationId="{D7C0471C-AE8C-3A92-D5E6-7ECF93281ABE}"/>
          </ac:spMkLst>
        </pc:spChg>
      </pc:sldChg>
      <pc:sldChg chg="addSp delSp modSp mod modClrScheme chgLayout">
        <pc:chgData name="Eileen Fleming Suse" userId="S::efs3844@ads.northwestern.edu::725c94ef-d051-42d7-9d33-8572765d592b" providerId="AD" clId="Web-{8B318C65-FBAF-E952-0433-A927E4880EA5}" dt="2024-02-12T20:06:09.735" v="98"/>
        <pc:sldMkLst>
          <pc:docMk/>
          <pc:sldMk cId="1914631794" sldId="866"/>
        </pc:sldMkLst>
        <pc:spChg chg="mod ord">
          <ac:chgData name="Eileen Fleming Suse" userId="S::efs3844@ads.northwestern.edu::725c94ef-d051-42d7-9d33-8572765d592b" providerId="AD" clId="Web-{8B318C65-FBAF-E952-0433-A927E4880EA5}" dt="2024-02-12T20:06:02.157" v="96" actId="1076"/>
          <ac:spMkLst>
            <pc:docMk/>
            <pc:sldMk cId="1914631794" sldId="866"/>
            <ac:spMk id="2" creationId="{B8576EA4-3DF4-E9A6-5CD8-6AB4F95F4CBD}"/>
          </ac:spMkLst>
        </pc:spChg>
        <pc:spChg chg="mod ord">
          <ac:chgData name="Eileen Fleming Suse" userId="S::efs3844@ads.northwestern.edu::725c94ef-d051-42d7-9d33-8572765d592b" providerId="AD" clId="Web-{8B318C65-FBAF-E952-0433-A927E4880EA5}" dt="2024-02-12T20:05:54.844" v="94"/>
          <ac:spMkLst>
            <pc:docMk/>
            <pc:sldMk cId="1914631794" sldId="866"/>
            <ac:spMk id="4" creationId="{B3ACD7C8-CBC2-44BB-21D9-5EBD997FCE75}"/>
          </ac:spMkLst>
        </pc:spChg>
        <pc:spChg chg="mod ord">
          <ac:chgData name="Eileen Fleming Suse" userId="S::efs3844@ads.northwestern.edu::725c94ef-d051-42d7-9d33-8572765d592b" providerId="AD" clId="Web-{8B318C65-FBAF-E952-0433-A927E4880EA5}" dt="2024-02-12T20:05:54.844" v="94"/>
          <ac:spMkLst>
            <pc:docMk/>
            <pc:sldMk cId="1914631794" sldId="866"/>
            <ac:spMk id="5" creationId="{F3E514EC-6A06-92ED-C74D-310EDB233E82}"/>
          </ac:spMkLst>
        </pc:spChg>
        <pc:spChg chg="add del mod ord">
          <ac:chgData name="Eileen Fleming Suse" userId="S::efs3844@ads.northwestern.edu::725c94ef-d051-42d7-9d33-8572765d592b" providerId="AD" clId="Web-{8B318C65-FBAF-E952-0433-A927E4880EA5}" dt="2024-02-12T20:06:09.735" v="98"/>
          <ac:spMkLst>
            <pc:docMk/>
            <pc:sldMk cId="1914631794" sldId="866"/>
            <ac:spMk id="6" creationId="{AB2918D4-18BA-C480-3460-B6A62FA235D1}"/>
          </ac:spMkLst>
        </pc:spChg>
        <pc:spChg chg="mod">
          <ac:chgData name="Eileen Fleming Suse" userId="S::efs3844@ads.northwestern.edu::725c94ef-d051-42d7-9d33-8572765d592b" providerId="AD" clId="Web-{8B318C65-FBAF-E952-0433-A927E4880EA5}" dt="2024-02-12T20:06:04.485" v="97" actId="1076"/>
          <ac:spMkLst>
            <pc:docMk/>
            <pc:sldMk cId="1914631794" sldId="866"/>
            <ac:spMk id="7" creationId="{A613F0CA-0B42-2365-025C-A56F8FFC9B87}"/>
          </ac:spMkLst>
        </pc:spChg>
      </pc:sldChg>
      <pc:sldChg chg="addSp delSp modSp mod modClrScheme chgLayout">
        <pc:chgData name="Eileen Fleming Suse" userId="S::efs3844@ads.northwestern.edu::725c94ef-d051-42d7-9d33-8572765d592b" providerId="AD" clId="Web-{8B318C65-FBAF-E952-0433-A927E4880EA5}" dt="2024-02-12T20:04:04.292" v="92" actId="14100"/>
        <pc:sldMkLst>
          <pc:docMk/>
          <pc:sldMk cId="2303357285" sldId="869"/>
        </pc:sldMkLst>
        <pc:spChg chg="mod ord">
          <ac:chgData name="Eileen Fleming Suse" userId="S::efs3844@ads.northwestern.edu::725c94ef-d051-42d7-9d33-8572765d592b" providerId="AD" clId="Web-{8B318C65-FBAF-E952-0433-A927E4880EA5}" dt="2024-02-12T20:03:54.589" v="88" actId="1076"/>
          <ac:spMkLst>
            <pc:docMk/>
            <pc:sldMk cId="2303357285" sldId="869"/>
            <ac:spMk id="2" creationId="{304FC3E6-8E03-4AD0-DC5A-624DF52B6ED0}"/>
          </ac:spMkLst>
        </pc:spChg>
        <pc:spChg chg="add del mod ord">
          <ac:chgData name="Eileen Fleming Suse" userId="S::efs3844@ads.northwestern.edu::725c94ef-d051-42d7-9d33-8572765d592b" providerId="AD" clId="Web-{8B318C65-FBAF-E952-0433-A927E4880EA5}" dt="2024-02-12T20:03:56.635" v="89"/>
          <ac:spMkLst>
            <pc:docMk/>
            <pc:sldMk cId="2303357285" sldId="869"/>
            <ac:spMk id="3" creationId="{194EBD9E-C2EA-96D9-E780-C37E9F37ED52}"/>
          </ac:spMkLst>
        </pc:spChg>
        <pc:spChg chg="mod">
          <ac:chgData name="Eileen Fleming Suse" userId="S::efs3844@ads.northwestern.edu::725c94ef-d051-42d7-9d33-8572765d592b" providerId="AD" clId="Web-{8B318C65-FBAF-E952-0433-A927E4880EA5}" dt="2024-02-12T20:04:04.292" v="92" actId="14100"/>
          <ac:spMkLst>
            <pc:docMk/>
            <pc:sldMk cId="2303357285" sldId="869"/>
            <ac:spMk id="4" creationId="{8C82C81E-502D-BE3D-429C-0EA81B1F57BD}"/>
          </ac:spMkLst>
        </pc:spChg>
        <pc:spChg chg="add mod ord">
          <ac:chgData name="Eileen Fleming Suse" userId="S::efs3844@ads.northwestern.edu::725c94ef-d051-42d7-9d33-8572765d592b" providerId="AD" clId="Web-{8B318C65-FBAF-E952-0433-A927E4880EA5}" dt="2024-02-12T20:03:46.354" v="86"/>
          <ac:spMkLst>
            <pc:docMk/>
            <pc:sldMk cId="2303357285" sldId="869"/>
            <ac:spMk id="5" creationId="{9D739684-6645-BE41-6A58-FFBFC899B68A}"/>
          </ac:spMkLst>
        </pc:spChg>
      </pc:sldChg>
      <pc:sldChg chg="new modNotes">
        <pc:chgData name="Eileen Fleming Suse" userId="S::efs3844@ads.northwestern.edu::725c94ef-d051-42d7-9d33-8572765d592b" providerId="AD" clId="Web-{8B318C65-FBAF-E952-0433-A927E4880EA5}" dt="2024-02-12T20:01:10.238" v="78"/>
        <pc:sldMkLst>
          <pc:docMk/>
          <pc:sldMk cId="2503595924" sldId="873"/>
        </pc:sldMkLst>
      </pc:sldChg>
    </pc:docChg>
  </pc:docChgLst>
  <pc:docChgLst>
    <pc:chgData name="Kiela Karina Moreno" userId="S::mpg7143@ads.northwestern.edu::1e897b35-0dd4-497a-9ab7-7a37e6c39d5b" providerId="AD" clId="Web-{13BD5AD6-3811-4CF6-B271-A30C27CA398A}"/>
    <pc:docChg chg="addSld delSld modSld sldOrd addMainMaster modMainMaster">
      <pc:chgData name="Kiela Karina Moreno" userId="S::mpg7143@ads.northwestern.edu::1e897b35-0dd4-497a-9ab7-7a37e6c39d5b" providerId="AD" clId="Web-{13BD5AD6-3811-4CF6-B271-A30C27CA398A}" dt="2024-01-25T20:54:15.510" v="698" actId="20577"/>
      <pc:docMkLst>
        <pc:docMk/>
      </pc:docMkLst>
      <pc:sldChg chg="del">
        <pc:chgData name="Kiela Karina Moreno" userId="S::mpg7143@ads.northwestern.edu::1e897b35-0dd4-497a-9ab7-7a37e6c39d5b" providerId="AD" clId="Web-{13BD5AD6-3811-4CF6-B271-A30C27CA398A}" dt="2024-01-25T18:33:40.165" v="159"/>
        <pc:sldMkLst>
          <pc:docMk/>
          <pc:sldMk cId="109857222" sldId="256"/>
        </pc:sldMkLst>
      </pc:sldChg>
      <pc:sldChg chg="addSp modSp add ord">
        <pc:chgData name="Kiela Karina Moreno" userId="S::mpg7143@ads.northwestern.edu::1e897b35-0dd4-497a-9ab7-7a37e6c39d5b" providerId="AD" clId="Web-{13BD5AD6-3811-4CF6-B271-A30C27CA398A}" dt="2024-01-25T20:29:30.615" v="538"/>
        <pc:sldMkLst>
          <pc:docMk/>
          <pc:sldMk cId="3127921386" sldId="280"/>
        </pc:sldMkLst>
        <pc:spChg chg="mod">
          <ac:chgData name="Kiela Karina Moreno" userId="S::mpg7143@ads.northwestern.edu::1e897b35-0dd4-497a-9ab7-7a37e6c39d5b" providerId="AD" clId="Web-{13BD5AD6-3811-4CF6-B271-A30C27CA398A}" dt="2024-01-25T18:32:40.163" v="156" actId="20577"/>
          <ac:spMkLst>
            <pc:docMk/>
            <pc:sldMk cId="3127921386" sldId="280"/>
            <ac:spMk id="3" creationId="{1D742501-F937-8041-84E5-748F96AE991B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22:20.414" v="50" actId="20577"/>
          <ac:spMkLst>
            <pc:docMk/>
            <pc:sldMk cId="3127921386" sldId="280"/>
            <ac:spMk id="9" creationId="{7F20A429-9947-F447-2DF2-A5C17B5C6EC1}"/>
          </ac:spMkLst>
        </pc:spChg>
        <pc:grpChg chg="add">
          <ac:chgData name="Kiela Karina Moreno" userId="S::mpg7143@ads.northwestern.edu::1e897b35-0dd4-497a-9ab7-7a37e6c39d5b" providerId="AD" clId="Web-{13BD5AD6-3811-4CF6-B271-A30C27CA398A}" dt="2024-01-25T20:29:30.615" v="538"/>
          <ac:grpSpMkLst>
            <pc:docMk/>
            <pc:sldMk cId="3127921386" sldId="280"/>
            <ac:grpSpMk id="7" creationId="{63770316-A22E-98DA-7612-617DBB68472E}"/>
          </ac:grpSpMkLst>
        </pc:grpChg>
      </pc:sldChg>
      <pc:sldChg chg="modSp add">
        <pc:chgData name="Kiela Karina Moreno" userId="S::mpg7143@ads.northwestern.edu::1e897b35-0dd4-497a-9ab7-7a37e6c39d5b" providerId="AD" clId="Web-{13BD5AD6-3811-4CF6-B271-A30C27CA398A}" dt="2024-01-25T18:32:55.320" v="158" actId="20577"/>
        <pc:sldMkLst>
          <pc:docMk/>
          <pc:sldMk cId="1234199256" sldId="289"/>
        </pc:sldMkLst>
        <pc:spChg chg="mod">
          <ac:chgData name="Kiela Karina Moreno" userId="S::mpg7143@ads.northwestern.edu::1e897b35-0dd4-497a-9ab7-7a37e6c39d5b" providerId="AD" clId="Web-{13BD5AD6-3811-4CF6-B271-A30C27CA398A}" dt="2024-01-25T18:32:55.320" v="158" actId="20577"/>
          <ac:spMkLst>
            <pc:docMk/>
            <pc:sldMk cId="1234199256" sldId="289"/>
            <ac:spMk id="2" creationId="{4750E6DC-BCB6-7021-74E4-A553695C7B5E}"/>
          </ac:spMkLst>
        </pc:spChg>
        <pc:graphicFrameChg chg="mod modGraphic">
          <ac:chgData name="Kiela Karina Moreno" userId="S::mpg7143@ads.northwestern.edu::1e897b35-0dd4-497a-9ab7-7a37e6c39d5b" providerId="AD" clId="Web-{13BD5AD6-3811-4CF6-B271-A30C27CA398A}" dt="2024-01-25T18:10:38.537" v="34" actId="1076"/>
          <ac:graphicFrameMkLst>
            <pc:docMk/>
            <pc:sldMk cId="1234199256" sldId="289"/>
            <ac:graphicFrameMk id="7" creationId="{D6C0E3B9-AD38-3062-92BA-93FBC89260BC}"/>
          </ac:graphicFrameMkLst>
        </pc:graphicFrameChg>
      </pc:sldChg>
      <pc:sldChg chg="addSp modSp add">
        <pc:chgData name="Kiela Karina Moreno" userId="S::mpg7143@ads.northwestern.edu::1e897b35-0dd4-497a-9ab7-7a37e6c39d5b" providerId="AD" clId="Web-{13BD5AD6-3811-4CF6-B271-A30C27CA398A}" dt="2024-01-25T20:30:02.272" v="541" actId="1076"/>
        <pc:sldMkLst>
          <pc:docMk/>
          <pc:sldMk cId="1141813547" sldId="737"/>
        </pc:sldMkLst>
        <pc:spChg chg="mod">
          <ac:chgData name="Kiela Karina Moreno" userId="S::mpg7143@ads.northwestern.edu::1e897b35-0dd4-497a-9ab7-7a37e6c39d5b" providerId="AD" clId="Web-{13BD5AD6-3811-4CF6-B271-A30C27CA398A}" dt="2024-01-25T18:14:49.028" v="40" actId="20577"/>
          <ac:spMkLst>
            <pc:docMk/>
            <pc:sldMk cId="1141813547" sldId="737"/>
            <ac:spMk id="15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14:54.200" v="41" actId="20577"/>
          <ac:spMkLst>
            <pc:docMk/>
            <pc:sldMk cId="1141813547" sldId="737"/>
            <ac:spMk id="16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15:00.434" v="42" actId="20577"/>
          <ac:spMkLst>
            <pc:docMk/>
            <pc:sldMk cId="1141813547" sldId="737"/>
            <ac:spMk id="17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15:08.450" v="44" actId="20577"/>
          <ac:spMkLst>
            <pc:docMk/>
            <pc:sldMk cId="1141813547" sldId="737"/>
            <ac:spMk id="20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15:04.419" v="43" actId="20577"/>
          <ac:spMkLst>
            <pc:docMk/>
            <pc:sldMk cId="1141813547" sldId="737"/>
            <ac:spMk id="21" creationId="{00000000-0000-0000-0000-000000000000}"/>
          </ac:spMkLst>
        </pc:spChg>
        <pc:spChg chg="add mod">
          <ac:chgData name="Kiela Karina Moreno" userId="S::mpg7143@ads.northwestern.edu::1e897b35-0dd4-497a-9ab7-7a37e6c39d5b" providerId="AD" clId="Web-{13BD5AD6-3811-4CF6-B271-A30C27CA398A}" dt="2024-01-25T20:30:02.272" v="541" actId="1076"/>
          <ac:spMkLst>
            <pc:docMk/>
            <pc:sldMk cId="1141813547" sldId="737"/>
            <ac:spMk id="26" creationId="{AE550962-E289-5DDA-2AB0-8CBF44084B7E}"/>
          </ac:spMkLst>
        </pc:spChg>
        <pc:picChg chg="mod modCrop">
          <ac:chgData name="Kiela Karina Moreno" userId="S::mpg7143@ads.northwestern.edu::1e897b35-0dd4-497a-9ab7-7a37e6c39d5b" providerId="AD" clId="Web-{13BD5AD6-3811-4CF6-B271-A30C27CA398A}" dt="2024-01-25T18:14:36.277" v="39"/>
          <ac:picMkLst>
            <pc:docMk/>
            <pc:sldMk cId="1141813547" sldId="737"/>
            <ac:picMk id="24" creationId="{BB2CB55F-0790-7175-FF6E-777FF2A900CC}"/>
          </ac:picMkLst>
        </pc:picChg>
      </pc:sldChg>
      <pc:sldChg chg="modSp ord">
        <pc:chgData name="Kiela Karina Moreno" userId="S::mpg7143@ads.northwestern.edu::1e897b35-0dd4-497a-9ab7-7a37e6c39d5b" providerId="AD" clId="Web-{13BD5AD6-3811-4CF6-B271-A30C27CA398A}" dt="2024-01-25T20:45:50.889" v="634" actId="14100"/>
        <pc:sldMkLst>
          <pc:docMk/>
          <pc:sldMk cId="1617559145" sldId="825"/>
        </pc:sldMkLst>
        <pc:spChg chg="mod">
          <ac:chgData name="Kiela Karina Moreno" userId="S::mpg7143@ads.northwestern.edu::1e897b35-0dd4-497a-9ab7-7a37e6c39d5b" providerId="AD" clId="Web-{13BD5AD6-3811-4CF6-B271-A30C27CA398A}" dt="2024-01-25T20:45:50.889" v="634" actId="14100"/>
          <ac:spMkLst>
            <pc:docMk/>
            <pc:sldMk cId="1617559145" sldId="825"/>
            <ac:spMk id="2" creationId="{BB53F377-28A9-F2D5-76A8-8CDE2A9E7535}"/>
          </ac:spMkLst>
        </pc:spChg>
      </pc:sldChg>
      <pc:sldChg chg="addSp delSp modSp add">
        <pc:chgData name="Kiela Karina Moreno" userId="S::mpg7143@ads.northwestern.edu::1e897b35-0dd4-497a-9ab7-7a37e6c39d5b" providerId="AD" clId="Web-{13BD5AD6-3811-4CF6-B271-A30C27CA398A}" dt="2024-01-25T19:29:50.762" v="382"/>
        <pc:sldMkLst>
          <pc:docMk/>
          <pc:sldMk cId="3419957415" sldId="829"/>
        </pc:sldMkLst>
        <pc:spChg chg="add del mod">
          <ac:chgData name="Kiela Karina Moreno" userId="S::mpg7143@ads.northwestern.edu::1e897b35-0dd4-497a-9ab7-7a37e6c39d5b" providerId="AD" clId="Web-{13BD5AD6-3811-4CF6-B271-A30C27CA398A}" dt="2024-01-25T19:29:50.762" v="382"/>
          <ac:spMkLst>
            <pc:docMk/>
            <pc:sldMk cId="3419957415" sldId="829"/>
            <ac:spMk id="2" creationId="{A02037A4-1F3A-FC80-5BA7-F8F1DB88E554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15:30.904" v="46" actId="20577"/>
          <ac:spMkLst>
            <pc:docMk/>
            <pc:sldMk cId="3419957415" sldId="829"/>
            <ac:spMk id="51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15:38.295" v="47" actId="20577"/>
          <ac:spMkLst>
            <pc:docMk/>
            <pc:sldMk cId="3419957415" sldId="829"/>
            <ac:spMk id="52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15:26.294" v="45" actId="20577"/>
          <ac:spMkLst>
            <pc:docMk/>
            <pc:sldMk cId="3419957415" sldId="829"/>
            <ac:spMk id="55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18:13.095" v="48" actId="20577"/>
          <ac:spMkLst>
            <pc:docMk/>
            <pc:sldMk cId="3419957415" sldId="829"/>
            <ac:spMk id="65" creationId="{28CD4543-B35F-C7BE-C5DB-7DF0067C551A}"/>
          </ac:spMkLst>
        </pc:spChg>
        <pc:cxnChg chg="mod">
          <ac:chgData name="Kiela Karina Moreno" userId="S::mpg7143@ads.northwestern.edu::1e897b35-0dd4-497a-9ab7-7a37e6c39d5b" providerId="AD" clId="Web-{13BD5AD6-3811-4CF6-B271-A30C27CA398A}" dt="2024-01-25T18:33:47.774" v="160" actId="14100"/>
          <ac:cxnSpMkLst>
            <pc:docMk/>
            <pc:sldMk cId="3419957415" sldId="829"/>
            <ac:cxnSpMk id="58" creationId="{7FE085C4-0A4D-D525-BEFC-A58C8B262908}"/>
          </ac:cxnSpMkLst>
        </pc:cxnChg>
      </pc:sldChg>
      <pc:sldChg chg="addSp modSp new">
        <pc:chgData name="Kiela Karina Moreno" userId="S::mpg7143@ads.northwestern.edu::1e897b35-0dd4-497a-9ab7-7a37e6c39d5b" providerId="AD" clId="Web-{13BD5AD6-3811-4CF6-B271-A30C27CA398A}" dt="2024-01-25T20:50:53.787" v="645" actId="20577"/>
        <pc:sldMkLst>
          <pc:docMk/>
          <pc:sldMk cId="4099246298" sldId="830"/>
        </pc:sldMkLst>
        <pc:spChg chg="add mod">
          <ac:chgData name="Kiela Karina Moreno" userId="S::mpg7143@ads.northwestern.edu::1e897b35-0dd4-497a-9ab7-7a37e6c39d5b" providerId="AD" clId="Web-{13BD5AD6-3811-4CF6-B271-A30C27CA398A}" dt="2024-01-25T20:50:26.208" v="640" actId="1076"/>
          <ac:spMkLst>
            <pc:docMk/>
            <pc:sldMk cId="4099246298" sldId="830"/>
            <ac:spMk id="2" creationId="{EE99E557-0E3A-FE44-7651-9B517AB7FE25}"/>
          </ac:spMkLst>
        </pc:spChg>
        <pc:spChg chg="add mod">
          <ac:chgData name="Kiela Karina Moreno" userId="S::mpg7143@ads.northwestern.edu::1e897b35-0dd4-497a-9ab7-7a37e6c39d5b" providerId="AD" clId="Web-{13BD5AD6-3811-4CF6-B271-A30C27CA398A}" dt="2024-01-25T20:50:53.787" v="645" actId="20577"/>
          <ac:spMkLst>
            <pc:docMk/>
            <pc:sldMk cId="4099246298" sldId="830"/>
            <ac:spMk id="3" creationId="{CF9BF4C4-C441-4125-0D36-AFACCDDD6450}"/>
          </ac:spMkLst>
        </pc:spChg>
      </pc:sldChg>
      <pc:sldChg chg="modSp add">
        <pc:chgData name="Kiela Karina Moreno" userId="S::mpg7143@ads.northwestern.edu::1e897b35-0dd4-497a-9ab7-7a37e6c39d5b" providerId="AD" clId="Web-{13BD5AD6-3811-4CF6-B271-A30C27CA398A}" dt="2024-01-25T18:45:58.057" v="239"/>
        <pc:sldMkLst>
          <pc:docMk/>
          <pc:sldMk cId="3117634655" sldId="845"/>
        </pc:sldMkLst>
        <pc:spChg chg="mod">
          <ac:chgData name="Kiela Karina Moreno" userId="S::mpg7143@ads.northwestern.edu::1e897b35-0dd4-497a-9ab7-7a37e6c39d5b" providerId="AD" clId="Web-{13BD5AD6-3811-4CF6-B271-A30C27CA398A}" dt="2024-01-25T18:45:07.572" v="230" actId="1076"/>
          <ac:spMkLst>
            <pc:docMk/>
            <pc:sldMk cId="3117634655" sldId="845"/>
            <ac:spMk id="2" creationId="{875610D5-0922-E3FB-2E32-5E2628A0D3BB}"/>
          </ac:spMkLst>
        </pc:spChg>
        <pc:graphicFrameChg chg="mod modGraphic">
          <ac:chgData name="Kiela Karina Moreno" userId="S::mpg7143@ads.northwestern.edu::1e897b35-0dd4-497a-9ab7-7a37e6c39d5b" providerId="AD" clId="Web-{13BD5AD6-3811-4CF6-B271-A30C27CA398A}" dt="2024-01-25T18:45:58.057" v="239"/>
          <ac:graphicFrameMkLst>
            <pc:docMk/>
            <pc:sldMk cId="3117634655" sldId="845"/>
            <ac:graphicFrameMk id="6" creationId="{3349F207-60F4-234D-4729-00A6824BBB25}"/>
          </ac:graphicFrameMkLst>
        </pc:graphicFrameChg>
      </pc:sldChg>
      <pc:sldChg chg="add">
        <pc:chgData name="Kiela Karina Moreno" userId="S::mpg7143@ads.northwestern.edu::1e897b35-0dd4-497a-9ab7-7a37e6c39d5b" providerId="AD" clId="Web-{13BD5AD6-3811-4CF6-B271-A30C27CA398A}" dt="2024-01-25T18:47:33.825" v="240"/>
        <pc:sldMkLst>
          <pc:docMk/>
          <pc:sldMk cId="2978648129" sldId="852"/>
        </pc:sldMkLst>
      </pc:sldChg>
      <pc:sldChg chg="add del">
        <pc:chgData name="Kiela Karina Moreno" userId="S::mpg7143@ads.northwestern.edu::1e897b35-0dd4-497a-9ab7-7a37e6c39d5b" providerId="AD" clId="Web-{13BD5AD6-3811-4CF6-B271-A30C27CA398A}" dt="2024-01-25T18:27:51.812" v="132"/>
        <pc:sldMkLst>
          <pc:docMk/>
          <pc:sldMk cId="4079048045" sldId="854"/>
        </pc:sldMkLst>
      </pc:sldChg>
      <pc:sldChg chg="modSp add">
        <pc:chgData name="Kiela Karina Moreno" userId="S::mpg7143@ads.northwestern.edu::1e897b35-0dd4-497a-9ab7-7a37e6c39d5b" providerId="AD" clId="Web-{13BD5AD6-3811-4CF6-B271-A30C27CA398A}" dt="2024-01-25T18:32:10.709" v="155" actId="20577"/>
        <pc:sldMkLst>
          <pc:docMk/>
          <pc:sldMk cId="1881092197" sldId="855"/>
        </pc:sldMkLst>
        <pc:spChg chg="mod">
          <ac:chgData name="Kiela Karina Moreno" userId="S::mpg7143@ads.northwestern.edu::1e897b35-0dd4-497a-9ab7-7a37e6c39d5b" providerId="AD" clId="Web-{13BD5AD6-3811-4CF6-B271-A30C27CA398A}" dt="2024-01-25T18:30:13.128" v="143" actId="20577"/>
          <ac:spMkLst>
            <pc:docMk/>
            <pc:sldMk cId="1881092197" sldId="855"/>
            <ac:spMk id="2" creationId="{3211BF8C-E76B-5DCC-741A-A8EC35718AC9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18:32:10.709" v="155" actId="20577"/>
          <ac:spMkLst>
            <pc:docMk/>
            <pc:sldMk cId="1881092197" sldId="855"/>
            <ac:spMk id="3" creationId="{23C63934-04CC-F21C-59FC-C580A9F65EC3}"/>
          </ac:spMkLst>
        </pc:spChg>
      </pc:sldChg>
      <pc:sldChg chg="new ord modNotes">
        <pc:chgData name="Kiela Karina Moreno" userId="S::mpg7143@ads.northwestern.edu::1e897b35-0dd4-497a-9ab7-7a37e6c39d5b" providerId="AD" clId="Web-{13BD5AD6-3811-4CF6-B271-A30C27CA398A}" dt="2024-01-25T18:39:25.189" v="220"/>
        <pc:sldMkLst>
          <pc:docMk/>
          <pc:sldMk cId="2263812282" sldId="856"/>
        </pc:sldMkLst>
      </pc:sldChg>
      <pc:sldChg chg="addSp modSp new ord modNotes">
        <pc:chgData name="Kiela Karina Moreno" userId="S::mpg7143@ads.northwestern.edu::1e897b35-0dd4-497a-9ab7-7a37e6c39d5b" providerId="AD" clId="Web-{13BD5AD6-3811-4CF6-B271-A30C27CA398A}" dt="2024-01-25T20:29:01.520" v="537"/>
        <pc:sldMkLst>
          <pc:docMk/>
          <pc:sldMk cId="2820585005" sldId="856"/>
        </pc:sldMkLst>
        <pc:spChg chg="add mod">
          <ac:chgData name="Kiela Karina Moreno" userId="S::mpg7143@ads.northwestern.edu::1e897b35-0dd4-497a-9ab7-7a37e6c39d5b" providerId="AD" clId="Web-{13BD5AD6-3811-4CF6-B271-A30C27CA398A}" dt="2024-01-25T20:28:02.425" v="534" actId="1076"/>
          <ac:spMkLst>
            <pc:docMk/>
            <pc:sldMk cId="2820585005" sldId="856"/>
            <ac:spMk id="3" creationId="{FADC0547-5E97-EE89-A9F3-3D3E822F0FA8}"/>
          </ac:spMkLst>
        </pc:spChg>
        <pc:spChg chg="add">
          <ac:chgData name="Kiela Karina Moreno" userId="S::mpg7143@ads.northwestern.edu::1e897b35-0dd4-497a-9ab7-7a37e6c39d5b" providerId="AD" clId="Web-{13BD5AD6-3811-4CF6-B271-A30C27CA398A}" dt="2024-01-25T20:29:01.520" v="537"/>
          <ac:spMkLst>
            <pc:docMk/>
            <pc:sldMk cId="2820585005" sldId="856"/>
            <ac:spMk id="5" creationId="{128C267F-D634-3898-5F27-33D0A5C5B94E}"/>
          </ac:spMkLst>
        </pc:spChg>
      </pc:sldChg>
      <pc:sldChg chg="addSp modSp new">
        <pc:chgData name="Kiela Karina Moreno" userId="S::mpg7143@ads.northwestern.edu::1e897b35-0dd4-497a-9ab7-7a37e6c39d5b" providerId="AD" clId="Web-{13BD5AD6-3811-4CF6-B271-A30C27CA398A}" dt="2024-01-25T20:44:26.824" v="626" actId="20577"/>
        <pc:sldMkLst>
          <pc:docMk/>
          <pc:sldMk cId="2665110015" sldId="857"/>
        </pc:sldMkLst>
        <pc:spChg chg="add mod">
          <ac:chgData name="Kiela Karina Moreno" userId="S::mpg7143@ads.northwestern.edu::1e897b35-0dd4-497a-9ab7-7a37e6c39d5b" providerId="AD" clId="Web-{13BD5AD6-3811-4CF6-B271-A30C27CA398A}" dt="2024-01-25T20:44:26.824" v="626" actId="20577"/>
          <ac:spMkLst>
            <pc:docMk/>
            <pc:sldMk cId="2665110015" sldId="857"/>
            <ac:spMk id="3" creationId="{F8846CBE-83EF-4010-D9EA-14AA5B3CB2A0}"/>
          </ac:spMkLst>
        </pc:spChg>
      </pc:sldChg>
      <pc:sldChg chg="modSp add">
        <pc:chgData name="Kiela Karina Moreno" userId="S::mpg7143@ads.northwestern.edu::1e897b35-0dd4-497a-9ab7-7a37e6c39d5b" providerId="AD" clId="Web-{13BD5AD6-3811-4CF6-B271-A30C27CA398A}" dt="2024-01-25T20:21:43.932" v="498" actId="20577"/>
        <pc:sldMkLst>
          <pc:docMk/>
          <pc:sldMk cId="1210022179" sldId="858"/>
        </pc:sldMkLst>
        <pc:spChg chg="mod">
          <ac:chgData name="Kiela Karina Moreno" userId="S::mpg7143@ads.northwestern.edu::1e897b35-0dd4-497a-9ab7-7a37e6c39d5b" providerId="AD" clId="Web-{13BD5AD6-3811-4CF6-B271-A30C27CA398A}" dt="2024-01-25T20:20:44.618" v="485" actId="20577"/>
          <ac:spMkLst>
            <pc:docMk/>
            <pc:sldMk cId="1210022179" sldId="858"/>
            <ac:spMk id="12" creationId="{EB9283BE-051A-06BD-CAA6-184C9D686C2F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0:50.837" v="486" actId="20577"/>
          <ac:spMkLst>
            <pc:docMk/>
            <pc:sldMk cId="1210022179" sldId="858"/>
            <ac:spMk id="18" creationId="{C3730C62-AFAC-21AA-3E7A-7AEAD34CE3BE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0:55.915" v="487" actId="20577"/>
          <ac:spMkLst>
            <pc:docMk/>
            <pc:sldMk cId="1210022179" sldId="858"/>
            <ac:spMk id="20" creationId="{B73A5A2B-E8B2-3A4D-6254-3A3DB1483B77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1:00.290" v="488" actId="20577"/>
          <ac:spMkLst>
            <pc:docMk/>
            <pc:sldMk cId="1210022179" sldId="858"/>
            <ac:spMk id="22" creationId="{DCD883C2-E6A5-6751-C6D1-3BC19BAEBB65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1:04.977" v="489" actId="20577"/>
          <ac:spMkLst>
            <pc:docMk/>
            <pc:sldMk cId="1210022179" sldId="858"/>
            <ac:spMk id="24" creationId="{C9EDA1B8-B2B5-4AB7-BE28-FD2E702400CA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1:10.306" v="490" actId="20577"/>
          <ac:spMkLst>
            <pc:docMk/>
            <pc:sldMk cId="1210022179" sldId="858"/>
            <ac:spMk id="26" creationId="{78A60644-0FDA-E9A5-A8A9-AB39830E7D17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1:16.790" v="491" actId="20577"/>
          <ac:spMkLst>
            <pc:docMk/>
            <pc:sldMk cId="1210022179" sldId="858"/>
            <ac:spMk id="28" creationId="{4DD97BA5-B3EA-9953-A828-AC4406353BE4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1:22.634" v="492" actId="20577"/>
          <ac:spMkLst>
            <pc:docMk/>
            <pc:sldMk cId="1210022179" sldId="858"/>
            <ac:spMk id="32" creationId="{8449D5CB-7C16-EDDA-3100-9116410AABE0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1:28.197" v="494" actId="20577"/>
          <ac:spMkLst>
            <pc:docMk/>
            <pc:sldMk cId="1210022179" sldId="858"/>
            <ac:spMk id="34" creationId="{CB726A25-CFF2-A633-BB75-01000B742058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1:32.056" v="495" actId="20577"/>
          <ac:spMkLst>
            <pc:docMk/>
            <pc:sldMk cId="1210022179" sldId="858"/>
            <ac:spMk id="36" creationId="{C5BA209B-6AD7-115B-8383-D8382814ACEE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1:36.650" v="496" actId="20577"/>
          <ac:spMkLst>
            <pc:docMk/>
            <pc:sldMk cId="1210022179" sldId="858"/>
            <ac:spMk id="38" creationId="{DD496E2B-129D-7877-3471-A97FA7218225}"/>
          </ac:spMkLst>
        </pc:spChg>
        <pc:spChg chg="mod">
          <ac:chgData name="Kiela Karina Moreno" userId="S::mpg7143@ads.northwestern.edu::1e897b35-0dd4-497a-9ab7-7a37e6c39d5b" providerId="AD" clId="Web-{13BD5AD6-3811-4CF6-B271-A30C27CA398A}" dt="2024-01-25T20:21:43.932" v="498" actId="20577"/>
          <ac:spMkLst>
            <pc:docMk/>
            <pc:sldMk cId="1210022179" sldId="858"/>
            <ac:spMk id="42" creationId="{E9E3C6CF-96AA-68D8-0977-EC06066DAB15}"/>
          </ac:spMkLst>
        </pc:spChg>
      </pc:sldChg>
      <pc:sldChg chg="addSp modSp new">
        <pc:chgData name="Kiela Karina Moreno" userId="S::mpg7143@ads.northwestern.edu::1e897b35-0dd4-497a-9ab7-7a37e6c39d5b" providerId="AD" clId="Web-{13BD5AD6-3811-4CF6-B271-A30C27CA398A}" dt="2024-01-25T20:54:15.510" v="698" actId="20577"/>
        <pc:sldMkLst>
          <pc:docMk/>
          <pc:sldMk cId="1549817843" sldId="859"/>
        </pc:sldMkLst>
        <pc:spChg chg="add mod">
          <ac:chgData name="Kiela Karina Moreno" userId="S::mpg7143@ads.northwestern.edu::1e897b35-0dd4-497a-9ab7-7a37e6c39d5b" providerId="AD" clId="Web-{13BD5AD6-3811-4CF6-B271-A30C27CA398A}" dt="2024-01-25T20:52:47.430" v="661" actId="20577"/>
          <ac:spMkLst>
            <pc:docMk/>
            <pc:sldMk cId="1549817843" sldId="859"/>
            <ac:spMk id="3" creationId="{D1DF164C-6C8E-F933-CDE7-B27DEF5C5D66}"/>
          </ac:spMkLst>
        </pc:spChg>
        <pc:spChg chg="add mod">
          <ac:chgData name="Kiela Karina Moreno" userId="S::mpg7143@ads.northwestern.edu::1e897b35-0dd4-497a-9ab7-7a37e6c39d5b" providerId="AD" clId="Web-{13BD5AD6-3811-4CF6-B271-A30C27CA398A}" dt="2024-01-25T20:54:15.510" v="698" actId="20577"/>
          <ac:spMkLst>
            <pc:docMk/>
            <pc:sldMk cId="1549817843" sldId="859"/>
            <ac:spMk id="4" creationId="{5834621C-123D-190C-97E7-9C52CC7673FC}"/>
          </ac:spMkLst>
        </pc:spChg>
      </pc:sldChg>
      <pc:sldChg chg="addSp new del">
        <pc:chgData name="Kiela Karina Moreno" userId="S::mpg7143@ads.northwestern.edu::1e897b35-0dd4-497a-9ab7-7a37e6c39d5b" providerId="AD" clId="Web-{13BD5AD6-3811-4CF6-B271-A30C27CA398A}" dt="2024-01-25T20:45:24.263" v="633"/>
        <pc:sldMkLst>
          <pc:docMk/>
          <pc:sldMk cId="4124403004" sldId="859"/>
        </pc:sldMkLst>
        <pc:spChg chg="add">
          <ac:chgData name="Kiela Karina Moreno" userId="S::mpg7143@ads.northwestern.edu::1e897b35-0dd4-497a-9ab7-7a37e6c39d5b" providerId="AD" clId="Web-{13BD5AD6-3811-4CF6-B271-A30C27CA398A}" dt="2024-01-25T20:45:12.138" v="632"/>
          <ac:spMkLst>
            <pc:docMk/>
            <pc:sldMk cId="4124403004" sldId="859"/>
            <ac:spMk id="3" creationId="{FFAEFA40-209C-B0F0-C537-804AFB4F0888}"/>
          </ac:spMkLst>
        </pc:spChg>
      </pc:sldChg>
      <pc:sldMasterChg chg="add addSldLayout">
        <pc:chgData name="Kiela Karina Moreno" userId="S::mpg7143@ads.northwestern.edu::1e897b35-0dd4-497a-9ab7-7a37e6c39d5b" providerId="AD" clId="Web-{13BD5AD6-3811-4CF6-B271-A30C27CA398A}" dt="2024-01-25T18:47:33.825" v="240"/>
        <pc:sldMasterMkLst>
          <pc:docMk/>
          <pc:sldMasterMk cId="3378073280" sldId="2147483756"/>
        </pc:sldMasterMkLst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39690513" sldId="21474836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20637423" sldId="214748367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36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53572214" sldId="214748372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83143663" sldId="214748373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37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373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5532739" sldId="214748373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374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39690513" sldId="214748375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20637423" sldId="214748375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37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37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37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37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39295337" sldId="214748375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53572214" sldId="214748375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02549073" sldId="214748375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376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58542806" sldId="214748376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967421487" sldId="21474837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83143663" sldId="21474837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922533" sldId="214748384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5841725" sldId="214748384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10596175" sldId="214748384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16315189" sldId="214748385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1008025" sldId="214748385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93792943" sldId="21474838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75092572" sldId="21474838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88716721" sldId="21474838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145037749" sldId="21474838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86002367" sldId="214748385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39855488" sldId="214748385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121826003" sldId="214748385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75499530" sldId="214748385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01596344" sldId="214748386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93561641" sldId="214748386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845267698" sldId="214748386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175297497" sldId="214748386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78663217" sldId="214748386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820774020" sldId="21474838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834594192" sldId="21474838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56315279" sldId="214748386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01317895" sldId="21474838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100288109" sldId="21474838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96376101" sldId="21474838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92886451" sldId="214748387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806159376" sldId="21474838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88616943" sldId="214748387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46938417" sldId="214748387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83550571" sldId="214748387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20877040" sldId="214748387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68574274" sldId="21474838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35471929" sldId="21474838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58278594" sldId="21474838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9404483" sldId="214748388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3478424" sldId="214748388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859098044" sldId="214748388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45276364" sldId="214748388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18021461" sldId="214748388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39989584" sldId="214748388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75864542" sldId="214748388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78282302" sldId="214748388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7104982" sldId="214748388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95372134" sldId="214748388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17828020" sldId="214748389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27648628" sldId="214748389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26122543" sldId="214748389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62054694" sldId="214748389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9055294" sldId="214748389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6171260" sldId="214748389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080090535" sldId="214748389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27921214" sldId="214748389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1920976" sldId="214748389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35804420" sldId="214748389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0585276" sldId="214748390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09666298" sldId="214748390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56760714" sldId="214748390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35649411" sldId="214748390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51432267" sldId="214748390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80461207" sldId="21474839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73984959" sldId="21474839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29066305" sldId="214748390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988764591" sldId="214748392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219800057" sldId="214748392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11585504" sldId="214748392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22746103" sldId="214748393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65694009" sldId="214748393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9059292" sldId="214748393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04868132" sldId="214748393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70792940" sldId="21474839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9783795" sldId="214748393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80660955" sldId="214748394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64467406" sldId="214748394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5677796" sldId="214748394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21248361" sldId="214748394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51683148" sldId="21474839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76612349" sldId="21474839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61684694" sldId="21474839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22325930" sldId="214748395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572981547" sldId="214748395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42479938" sldId="214748395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66296709" sldId="214748395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570922304" sldId="214748396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155432313" sldId="214748396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879056666" sldId="214748396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01967696" sldId="214748396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86446465" sldId="214748396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10798543" sldId="21474839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48675539" sldId="21474839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23011711" sldId="214748396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36372206" sldId="21474839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92031328" sldId="21474839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10270537" sldId="21474839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4610509" sldId="214748397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50515904" sldId="21474839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53644344" sldId="214748397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30798206" sldId="214748397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122990995" sldId="214748397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8653374" sldId="214748397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24834593" sldId="21474839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43003970" sldId="21474839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17355230" sldId="21474839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51400287" sldId="214748398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946972" sldId="214748398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51562560" sldId="214748398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126479413" sldId="214748398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89622913" sldId="214748398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57336188" sldId="214748398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8520332" sldId="214748398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28489293" sldId="214748398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5040569" sldId="214748398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21105823" sldId="214748398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15772397" sldId="214748399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51901327" sldId="214748399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11352467" sldId="214748399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22305507" sldId="214748399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45177511" sldId="214748399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26909929" sldId="214748399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38498237" sldId="214748399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36365882" sldId="214748399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08656322" sldId="214748399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30473943" sldId="214748399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35550117" sldId="214748400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05824695" sldId="214748400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420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420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42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42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420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57904224" sldId="214748422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423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423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42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423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423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424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426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426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426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42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432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433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433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433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872652782" sldId="214748433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43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433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433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433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434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434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434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434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434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37652033" sldId="21474843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46532180" sldId="21474843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37652033" sldId="21474843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103439267" sldId="214748435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77496322" sldId="214748435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847879164" sldId="214748435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9302691" sldId="214748435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35420318" sldId="214748436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65852557" sldId="214748436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436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437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43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43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91076637" sldId="214748438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81420108" sldId="214748438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438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38803846" sldId="214748438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46898753" sldId="214748438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10091495" sldId="214748438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14599787" sldId="214748439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91682188" sldId="214748439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8148766" sldId="214748439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26228292" sldId="214748439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138240366" sldId="214748439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440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440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440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44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44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448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448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448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448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448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448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448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455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2630080" sldId="21474845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83420" sldId="21474845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36500789" sldId="21474845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458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458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458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458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459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459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459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91076637" sldId="214748459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14599787" sldId="214748460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91682188" sldId="214748460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8148766" sldId="214748460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30479694" sldId="214748460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460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79200564" sldId="214748462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32483557" sldId="214748462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26228292" sldId="214748463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138240366" sldId="21474846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48463225" sldId="21474846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88034496" sldId="21474846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46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46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47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476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47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477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477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477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47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481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481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481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482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482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40902241" sldId="21474848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38803846" sldId="214748483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46898753" sldId="214748483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483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483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484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77496322" sldId="214748484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2630080" sldId="214748484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95676063" sldId="214748484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484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484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83420" sldId="214748484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88949313" sldId="214748485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36500789" sldId="214748485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22401269" sldId="21474848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48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82224325" sldId="21474848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10812348" sldId="21474848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46532180" sldId="214748485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485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88436358" sldId="214748499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25634235" sldId="214748500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27289008" sldId="214748500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22153863" sldId="214748500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5956606" sldId="21474850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19806002" sldId="214748500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65887101" sldId="214748500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506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50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50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506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50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50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50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507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57904224" sldId="21474850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91076637" sldId="214748507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40902241" sldId="214748507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81420108" sldId="214748507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79200564" sldId="21474850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38803846" sldId="21474850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46898753" sldId="21474850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10091495" sldId="214748508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14599787" sldId="214748508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91682188" sldId="214748508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8148766" sldId="214748508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95676063" sldId="214748509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87509848" sldId="21474851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28347992" sldId="214748521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9018680" sldId="214748521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87509848" sldId="214748521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523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523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52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527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52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527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527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527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527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52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52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79200564" sldId="21474853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36500789" sldId="21474853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2630080" sldId="21474853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535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536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53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53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53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538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539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539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539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539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539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539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540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540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540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540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40902241" sldId="21474854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79200564" sldId="21474854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82254879" sldId="214748542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32483557" sldId="214748544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54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54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95676063" sldId="21474854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0117215" sldId="214748555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91076637" sldId="214748584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40902241" sldId="214748584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81420108" sldId="214748584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79200564" sldId="214748585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38803846" sldId="214748585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46898753" sldId="21474858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10091495" sldId="21474858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14599787" sldId="21474858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91682188" sldId="21474858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8148766" sldId="214748585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77496322" sldId="214748585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847879164" sldId="214748585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9302691" sldId="214748585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35420318" sldId="214748586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65852557" sldId="214748586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58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58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58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58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587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29644005" sldId="21474858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58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58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103439267" sldId="21474858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22401269" sldId="214748588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46532180" sldId="214748590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36500789" sldId="214748590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22401269" sldId="21474859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59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603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604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30479694" sldId="21474860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620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620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620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620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62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62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620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620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620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622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622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622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622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88949313" sldId="214748625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48463225" sldId="21474862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88034496" sldId="21474862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628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113001559" sldId="214748636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0117215" sldId="214748636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88436358" sldId="214748636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25634235" sldId="214748636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27289008" sldId="21474863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22153863" sldId="21474863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5956606" sldId="214748636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19806002" sldId="21474863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65887101" sldId="21474863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638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638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639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0496501" sldId="214748639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639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640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64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64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640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640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640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641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3753234" sldId="214748641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2630080" sldId="214748642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83420" sldId="214748642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642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79200564" sldId="214748642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642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691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691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87509848" sldId="214748692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692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22401269" sldId="214748692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0801759" sldId="214748694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694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95676063" sldId="214748695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69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69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69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69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695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69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79200564" sldId="214748698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01596344" sldId="214748698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29644005" sldId="214748699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3753234" sldId="214748699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30479694" sldId="214748699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699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91410609" sldId="21474870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25634235" sldId="21474870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22153863" sldId="214748700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88436358" sldId="214748700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27289008" sldId="214748700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22153863" sldId="214748701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35956606" sldId="214748701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19806002" sldId="214748701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65887101" sldId="214748701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91578072" sldId="214748702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179854312" sldId="214748702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132318659" sldId="214748703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8904194" sldId="214748703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83035621" sldId="214748703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534488667" sldId="214748703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984238912" sldId="214748703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2020187" sldId="21474870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181955522" sldId="214748703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32453738" sldId="214748703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4874233" sldId="214748703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71771967" sldId="214748703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14228870" sldId="214748704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48015493" sldId="214748704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91810783" sldId="214748704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68296633" sldId="214748704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63854968" sldId="214748704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78744679" sldId="214748704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86376476" sldId="214748704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43775063" sldId="214748704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34956318" sldId="214748704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288786427" sldId="214748704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18415549" sldId="214748705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521326" sldId="214748705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171903" sldId="21474870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74324019" sldId="21474870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8538390" sldId="214748705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51446120" sldId="214748705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32493380" sldId="214748706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45280055" sldId="214748706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48434812" sldId="214748706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805592603" sldId="214748706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92427770" sldId="214748706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94052774" sldId="21474870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47862978" sldId="21474870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76877181" sldId="214748706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50889900" sldId="21474870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56107529" sldId="21474870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04698859" sldId="21474870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61201835" sldId="214748707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75538182" sldId="21474870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8845375" sldId="214748707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32901630" sldId="214748707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11840102" sldId="214748707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89779657" sldId="214748707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91043975" sldId="21474870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87739039" sldId="21474870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234936126" sldId="21474870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73437552" sldId="214748708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58328559" sldId="214748708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29386569" sldId="214748708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65731875" sldId="214748708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43182943" sldId="214748708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39854147" sldId="214748708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19986855" sldId="214748708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878186423" sldId="214748708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44781546" sldId="214748708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982901995" sldId="214748708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08658575" sldId="214748709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59532752" sldId="214748709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47643842" sldId="214748709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1024431" sldId="214748709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05505364" sldId="214748709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60285631" sldId="214748709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8619597" sldId="214748709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82738" sldId="214748710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4587918" sldId="214748710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09084614" sldId="214748710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14221174" sldId="214748710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93290789" sldId="214748710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26322304" sldId="21474871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503393694" sldId="21474871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92589500" sldId="214748710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53485271" sldId="214748710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95870651" sldId="214748710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128825244" sldId="214748711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9238068" sldId="214748711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49862182" sldId="214748711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63852016" sldId="214748711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584184684" sldId="214748711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99434678" sldId="214748711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68056590" sldId="214748711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19438968" sldId="214748711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23871782" sldId="214748711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65694493" sldId="214748712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73350505" sldId="214748712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599849130" sldId="214748712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11595628" sldId="214748712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09251650" sldId="214748712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22428475" sldId="214748712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9805404" sldId="214748712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548702167" sldId="214748712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57713067" sldId="214748712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73097338" sldId="214748713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216179664" sldId="214748713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20493336" sldId="214748713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74977627" sldId="214748713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34355322" sldId="214748713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9001456" sldId="21474871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61880748" sldId="214748713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19786099" sldId="214748713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69168792" sldId="214748713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58112831" sldId="214748713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23635138" sldId="214748714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72360139" sldId="214748714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04300062" sldId="21474871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715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81420108" sldId="21474871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210091495" sldId="21474871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41914057" sldId="21474871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84230286" sldId="21474871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82798914" sldId="214748718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91199215" sldId="214748718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29515799" sldId="214748718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48436128" sldId="214748718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83270214" sldId="214748718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5964228" sldId="214748718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03719949" sldId="214748718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590515151" sldId="214748719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8274380" sldId="214748719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08841809" sldId="214748719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03686679" sldId="21474872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04450066" sldId="21474872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65481949" sldId="214748720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14801019" sldId="214748720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07914573" sldId="214748720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202775852" sldId="214748721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47288010" sldId="214748721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525519462" sldId="214748721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898032396" sldId="214748721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04125666" sldId="214748721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225845292" sldId="214748721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56388239" sldId="214748721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68412230" sldId="214748721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7651266" sldId="214748721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18896833" sldId="214748721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82089770" sldId="214748722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57758517" sldId="214748722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23406442" sldId="214748722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577243743" sldId="214748722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965875377" sldId="214748722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94216092" sldId="214748722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1876091" sldId="214748722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981815734" sldId="214748722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5213743" sldId="214748722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1114809" sldId="214748722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68810016" sldId="214748723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147740735" sldId="214748723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95849402" sldId="214748723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62217939" sldId="214748723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629127" sldId="21474872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732741348" sldId="214748723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042047047" sldId="214748723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298479306" sldId="214748724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5636675" sldId="214748724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94065546" sldId="214748724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75016611" sldId="214748724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1954738" sldId="214748724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572710091" sldId="214748724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62430371" sldId="214748725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88036761" sldId="214748725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882342115" sldId="21474872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14054778" sldId="21474872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36486368" sldId="21474872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70705443" sldId="21474872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548020355" sldId="21474872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62208845" sldId="214748727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29070028" sldId="21474872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89649185" sldId="214748727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48626561" sldId="214748727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76538025" sldId="214748727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24847678" sldId="214748727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083649414" sldId="21474872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97111013" sldId="214748729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000008366" sldId="214748729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18321361" sldId="214748729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59555195" sldId="214748729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41522953" sldId="214748729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8668804" sldId="214748729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01862111" sldId="214748729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57949696" sldId="214748729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96907520" sldId="214748729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62774728" sldId="214748730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27363329" sldId="214748730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59463894" sldId="214748730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52727692" sldId="214748730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386647170" sldId="214748730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226791542" sldId="214748730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69632276" sldId="214748730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543247745" sldId="214748730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663663494" sldId="214748731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97839732" sldId="214748731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91955889" sldId="214748732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069414299" sldId="214748732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56972729" sldId="214748734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541926387" sldId="214748734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86669273" sldId="214748734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670630771" sldId="214748735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783658486" sldId="214748735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9320368" sldId="214748735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10130633" sldId="214748735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698059872" sldId="214748735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735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735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735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735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735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736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55494103" sldId="214748736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736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39295337" sldId="214748736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02549073" sldId="214748736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5532739" sldId="214748736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58542806" sldId="214748736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967421487" sldId="214748736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03572776" sldId="214748736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980529727" sldId="214748736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709868767" sldId="214748737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98157548" sldId="214748737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69300124" sldId="214748737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480140117" sldId="214748737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59781530" sldId="214748737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55494103" sldId="214748737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91337409" sldId="214748737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075216660" sldId="214748737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476272431" sldId="214748737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803572776" sldId="21474873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016851664" sldId="214748807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27921214" sldId="214748821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1920976" sldId="214748821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35804420" sldId="214748821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91578072" sldId="214748822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132318659" sldId="214748822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984238912" sldId="214748822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3171771967" sldId="214748823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791199215" sldId="2147488231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629515799" sldId="214748823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448436128" sldId="2147488233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91810783" sldId="2147488234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394216092" sldId="2147488235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130117215" sldId="2147488236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543003970" sldId="2147488237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4022153863" sldId="2147488238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88436358" sldId="2147488239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2918985061" sldId="2147488240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3378073280" sldId="2147483756"/>
            <pc:sldLayoutMk cId="842179098" sldId="2147488241"/>
          </pc:sldLayoutMkLst>
        </pc:sldLayoutChg>
      </pc:sldMasterChg>
      <pc:sldMasterChg chg="addSldLayout modSldLayout">
        <pc:chgData name="Kiela Karina Moreno" userId="S::mpg7143@ads.northwestern.edu::1e897b35-0dd4-497a-9ab7-7a37e6c39d5b" providerId="AD" clId="Web-{13BD5AD6-3811-4CF6-B271-A30C27CA398A}" dt="2024-01-25T20:19:45.257" v="482"/>
        <pc:sldMasterMkLst>
          <pc:docMk/>
          <pc:sldMasterMk cId="2460954070" sldId="2147488246"/>
        </pc:sldMasterMkLst>
        <pc:sldLayoutChg chg="add replId">
          <pc:chgData name="Kiela Karina Moreno" userId="S::mpg7143@ads.northwestern.edu::1e897b35-0dd4-497a-9ab7-7a37e6c39d5b" providerId="AD" clId="Web-{13BD5AD6-3811-4CF6-B271-A30C27CA398A}" dt="2024-01-25T18:47:33.825" v="240"/>
          <pc:sldLayoutMkLst>
            <pc:docMk/>
            <pc:sldMasterMk cId="2460954070" sldId="2147488246"/>
            <pc:sldLayoutMk cId="1739842675" sldId="2147488242"/>
          </pc:sldLayoutMkLst>
        </pc:sldLayoutChg>
        <pc:sldLayoutChg chg="add">
          <pc:chgData name="Kiela Karina Moreno" userId="S::mpg7143@ads.northwestern.edu::1e897b35-0dd4-497a-9ab7-7a37e6c39d5b" providerId="AD" clId="Web-{13BD5AD6-3811-4CF6-B271-A30C27CA398A}" dt="2024-01-25T20:19:45.257" v="482"/>
          <pc:sldLayoutMkLst>
            <pc:docMk/>
            <pc:sldMasterMk cId="2460954070" sldId="2147488246"/>
            <pc:sldLayoutMk cId="4262274650" sldId="2147488243"/>
          </pc:sldLayoutMkLst>
        </pc:sldLayoutChg>
      </pc:sldMasterChg>
    </pc:docChg>
  </pc:docChgLst>
  <pc:docChgLst>
    <pc:chgData name="Kiela Karina Moreno" userId="S::mpg7143@ads.northwestern.edu::1e897b35-0dd4-497a-9ab7-7a37e6c39d5b" providerId="AD" clId="Web-{9C0554C3-76A9-5870-0373-600BD27C3B66}"/>
    <pc:docChg chg="sldOrd">
      <pc:chgData name="Kiela Karina Moreno" userId="S::mpg7143@ads.northwestern.edu::1e897b35-0dd4-497a-9ab7-7a37e6c39d5b" providerId="AD" clId="Web-{9C0554C3-76A9-5870-0373-600BD27C3B66}" dt="2024-02-16T22:38:08.883" v="0"/>
      <pc:docMkLst>
        <pc:docMk/>
      </pc:docMkLst>
      <pc:sldChg chg="ord">
        <pc:chgData name="Kiela Karina Moreno" userId="S::mpg7143@ads.northwestern.edu::1e897b35-0dd4-497a-9ab7-7a37e6c39d5b" providerId="AD" clId="Web-{9C0554C3-76A9-5870-0373-600BD27C3B66}" dt="2024-02-16T22:38:08.883" v="0"/>
        <pc:sldMkLst>
          <pc:docMk/>
          <pc:sldMk cId="2688480143" sldId="821"/>
        </pc:sldMkLst>
      </pc:sldChg>
    </pc:docChg>
  </pc:docChgLst>
  <pc:docChgLst>
    <pc:chgData name="Kiela Karina Moreno" userId="S::mpg7143@ads.northwestern.edu::1e897b35-0dd4-497a-9ab7-7a37e6c39d5b" providerId="AD" clId="Web-{F7BC2872-BB2B-0BB7-4E1A-FCE7960B7E8A}"/>
    <pc:docChg chg="modSld">
      <pc:chgData name="Kiela Karina Moreno" userId="S::mpg7143@ads.northwestern.edu::1e897b35-0dd4-497a-9ab7-7a37e6c39d5b" providerId="AD" clId="Web-{F7BC2872-BB2B-0BB7-4E1A-FCE7960B7E8A}" dt="2024-02-10T18:42:57.396" v="16" actId="20577"/>
      <pc:docMkLst>
        <pc:docMk/>
      </pc:docMkLst>
      <pc:sldChg chg="modSp">
        <pc:chgData name="Kiela Karina Moreno" userId="S::mpg7143@ads.northwestern.edu::1e897b35-0dd4-497a-9ab7-7a37e6c39d5b" providerId="AD" clId="Web-{F7BC2872-BB2B-0BB7-4E1A-FCE7960B7E8A}" dt="2024-02-10T18:42:57.396" v="16" actId="20577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F7BC2872-BB2B-0BB7-4E1A-FCE7960B7E8A}" dt="2024-02-10T18:42:57.396" v="16" actId="20577"/>
          <ac:spMkLst>
            <pc:docMk/>
            <pc:sldMk cId="1914631794" sldId="866"/>
            <ac:spMk id="3" creationId="{5EC312F1-9F6E-D473-207C-7D9046AEEDE1}"/>
          </ac:spMkLst>
        </pc:spChg>
      </pc:sldChg>
    </pc:docChg>
  </pc:docChgLst>
  <pc:docChgLst>
    <pc:chgData name="Kiela Karina Moreno" userId="S::mpg7143@ads.northwestern.edu::1e897b35-0dd4-497a-9ab7-7a37e6c39d5b" providerId="AD" clId="Web-{14F90867-21F6-F44A-8B57-87F9B771D638}"/>
    <pc:docChg chg="sldOrd">
      <pc:chgData name="Kiela Karina Moreno" userId="S::mpg7143@ads.northwestern.edu::1e897b35-0dd4-497a-9ab7-7a37e6c39d5b" providerId="AD" clId="Web-{14F90867-21F6-F44A-8B57-87F9B771D638}" dt="2024-02-13T15:52:46.319" v="0"/>
      <pc:docMkLst>
        <pc:docMk/>
      </pc:docMkLst>
      <pc:sldChg chg="ord">
        <pc:chgData name="Kiela Karina Moreno" userId="S::mpg7143@ads.northwestern.edu::1e897b35-0dd4-497a-9ab7-7a37e6c39d5b" providerId="AD" clId="Web-{14F90867-21F6-F44A-8B57-87F9B771D638}" dt="2024-02-13T15:52:46.319" v="0"/>
        <pc:sldMkLst>
          <pc:docMk/>
          <pc:sldMk cId="1310655723" sldId="836"/>
        </pc:sldMkLst>
      </pc:sldChg>
    </pc:docChg>
  </pc:docChgLst>
  <pc:docChgLst>
    <pc:chgData name="Kiela Karina Moreno" userId="S::mpg7143@ads.northwestern.edu::1e897b35-0dd4-497a-9ab7-7a37e6c39d5b" providerId="AD" clId="Web-{184FF239-1330-4130-44C3-11156F289924}"/>
    <pc:docChg chg="addSld modSld">
      <pc:chgData name="Kiela Karina Moreno" userId="S::mpg7143@ads.northwestern.edu::1e897b35-0dd4-497a-9ab7-7a37e6c39d5b" providerId="AD" clId="Web-{184FF239-1330-4130-44C3-11156F289924}" dt="2024-02-13T16:46:25.555" v="19"/>
      <pc:docMkLst>
        <pc:docMk/>
      </pc:docMkLst>
      <pc:sldChg chg="modSp">
        <pc:chgData name="Kiela Karina Moreno" userId="S::mpg7143@ads.northwestern.edu::1e897b35-0dd4-497a-9ab7-7a37e6c39d5b" providerId="AD" clId="Web-{184FF239-1330-4130-44C3-11156F289924}" dt="2024-02-13T16:44:23.520" v="11" actId="20577"/>
        <pc:sldMkLst>
          <pc:docMk/>
          <pc:sldMk cId="4044691067" sldId="283"/>
        </pc:sldMkLst>
        <pc:spChg chg="mod">
          <ac:chgData name="Kiela Karina Moreno" userId="S::mpg7143@ads.northwestern.edu::1e897b35-0dd4-497a-9ab7-7a37e6c39d5b" providerId="AD" clId="Web-{184FF239-1330-4130-44C3-11156F289924}" dt="2024-02-13T16:44:23.520" v="11" actId="20577"/>
          <ac:spMkLst>
            <pc:docMk/>
            <pc:sldMk cId="4044691067" sldId="283"/>
            <ac:spMk id="5" creationId="{F0B2A739-51C3-9CBF-7F6C-3EE69AAB6035}"/>
          </ac:spMkLst>
        </pc:spChg>
      </pc:sldChg>
      <pc:sldChg chg="add">
        <pc:chgData name="Kiela Karina Moreno" userId="S::mpg7143@ads.northwestern.edu::1e897b35-0dd4-497a-9ab7-7a37e6c39d5b" providerId="AD" clId="Web-{184FF239-1330-4130-44C3-11156F289924}" dt="2024-02-13T16:42:04.608" v="9"/>
        <pc:sldMkLst>
          <pc:docMk/>
          <pc:sldMk cId="888580837" sldId="772"/>
        </pc:sldMkLst>
      </pc:sldChg>
      <pc:sldChg chg="modSp">
        <pc:chgData name="Kiela Karina Moreno" userId="S::mpg7143@ads.northwestern.edu::1e897b35-0dd4-497a-9ab7-7a37e6c39d5b" providerId="AD" clId="Web-{184FF239-1330-4130-44C3-11156F289924}" dt="2024-02-13T16:11:04.116" v="8" actId="20577"/>
        <pc:sldMkLst>
          <pc:docMk/>
          <pc:sldMk cId="4099246298" sldId="830"/>
        </pc:sldMkLst>
        <pc:spChg chg="mod">
          <ac:chgData name="Kiela Karina Moreno" userId="S::mpg7143@ads.northwestern.edu::1e897b35-0dd4-497a-9ab7-7a37e6c39d5b" providerId="AD" clId="Web-{184FF239-1330-4130-44C3-11156F289924}" dt="2024-02-13T16:11:04.116" v="8" actId="20577"/>
          <ac:spMkLst>
            <pc:docMk/>
            <pc:sldMk cId="4099246298" sldId="830"/>
            <ac:spMk id="7" creationId="{5C4018D8-81AF-36D5-48D9-B4ABF5C0928D}"/>
          </ac:spMkLst>
        </pc:spChg>
      </pc:sldChg>
      <pc:sldChg chg="delSp">
        <pc:chgData name="Kiela Karina Moreno" userId="S::mpg7143@ads.northwestern.edu::1e897b35-0dd4-497a-9ab7-7a37e6c39d5b" providerId="AD" clId="Web-{184FF239-1330-4130-44C3-11156F289924}" dt="2024-02-13T16:09:47.318" v="1"/>
        <pc:sldMkLst>
          <pc:docMk/>
          <pc:sldMk cId="1210022179" sldId="858"/>
        </pc:sldMkLst>
        <pc:spChg chg="del">
          <ac:chgData name="Kiela Karina Moreno" userId="S::mpg7143@ads.northwestern.edu::1e897b35-0dd4-497a-9ab7-7a37e6c39d5b" providerId="AD" clId="Web-{184FF239-1330-4130-44C3-11156F289924}" dt="2024-02-13T16:09:45.177" v="0"/>
          <ac:spMkLst>
            <pc:docMk/>
            <pc:sldMk cId="1210022179" sldId="858"/>
            <ac:spMk id="7" creationId="{F6C87363-B1CB-AD91-CF0A-B0BCC79DDCC5}"/>
          </ac:spMkLst>
        </pc:spChg>
        <pc:spChg chg="del">
          <ac:chgData name="Kiela Karina Moreno" userId="S::mpg7143@ads.northwestern.edu::1e897b35-0dd4-497a-9ab7-7a37e6c39d5b" providerId="AD" clId="Web-{184FF239-1330-4130-44C3-11156F289924}" dt="2024-02-13T16:09:47.318" v="1"/>
          <ac:spMkLst>
            <pc:docMk/>
            <pc:sldMk cId="1210022179" sldId="858"/>
            <ac:spMk id="9" creationId="{C874A67E-9B5B-2D23-C688-6157CEE71F2B}"/>
          </ac:spMkLst>
        </pc:spChg>
      </pc:sldChg>
      <pc:sldChg chg="delSp">
        <pc:chgData name="Kiela Karina Moreno" userId="S::mpg7143@ads.northwestern.edu::1e897b35-0dd4-497a-9ab7-7a37e6c39d5b" providerId="AD" clId="Web-{184FF239-1330-4130-44C3-11156F289924}" dt="2024-02-13T16:44:34.879" v="12"/>
        <pc:sldMkLst>
          <pc:docMk/>
          <pc:sldMk cId="2947401908" sldId="865"/>
        </pc:sldMkLst>
        <pc:spChg chg="del">
          <ac:chgData name="Kiela Karina Moreno" userId="S::mpg7143@ads.northwestern.edu::1e897b35-0dd4-497a-9ab7-7a37e6c39d5b" providerId="AD" clId="Web-{184FF239-1330-4130-44C3-11156F289924}" dt="2024-02-13T16:44:34.879" v="12"/>
          <ac:spMkLst>
            <pc:docMk/>
            <pc:sldMk cId="2947401908" sldId="865"/>
            <ac:spMk id="3" creationId="{32CFAA58-55F3-3F40-7566-343BCFDBDB4D}"/>
          </ac:spMkLst>
        </pc:spChg>
      </pc:sldChg>
      <pc:sldChg chg="addSp modSp">
        <pc:chgData name="Kiela Karina Moreno" userId="S::mpg7143@ads.northwestern.edu::1e897b35-0dd4-497a-9ab7-7a37e6c39d5b" providerId="AD" clId="Web-{184FF239-1330-4130-44C3-11156F289924}" dt="2024-02-13T16:46:25.555" v="19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184FF239-1330-4130-44C3-11156F289924}" dt="2024-02-13T16:10:16.709" v="3" actId="14100"/>
          <ac:spMkLst>
            <pc:docMk/>
            <pc:sldMk cId="1914631794" sldId="866"/>
            <ac:spMk id="2" creationId="{B8576EA4-3DF4-E9A6-5CD8-6AB4F95F4CBD}"/>
          </ac:spMkLst>
        </pc:spChg>
        <pc:picChg chg="add mod">
          <ac:chgData name="Kiela Karina Moreno" userId="S::mpg7143@ads.northwestern.edu::1e897b35-0dd4-497a-9ab7-7a37e6c39d5b" providerId="AD" clId="Web-{184FF239-1330-4130-44C3-11156F289924}" dt="2024-02-13T16:46:06.211" v="18" actId="1076"/>
          <ac:picMkLst>
            <pc:docMk/>
            <pc:sldMk cId="1914631794" sldId="866"/>
            <ac:picMk id="9" creationId="{99B6826D-1366-6D7F-CF5D-AC4B16D19B02}"/>
          </ac:picMkLst>
        </pc:picChg>
        <pc:picChg chg="add">
          <ac:chgData name="Kiela Karina Moreno" userId="S::mpg7143@ads.northwestern.edu::1e897b35-0dd4-497a-9ab7-7a37e6c39d5b" providerId="AD" clId="Web-{184FF239-1330-4130-44C3-11156F289924}" dt="2024-02-13T16:46:25.555" v="19"/>
          <ac:picMkLst>
            <pc:docMk/>
            <pc:sldMk cId="1914631794" sldId="866"/>
            <ac:picMk id="11" creationId="{5805DF79-E645-A5A2-5559-A460AAA4DE6D}"/>
          </ac:picMkLst>
        </pc:picChg>
      </pc:sldChg>
      <pc:sldChg chg="delSp">
        <pc:chgData name="Kiela Karina Moreno" userId="S::mpg7143@ads.northwestern.edu::1e897b35-0dd4-497a-9ab7-7a37e6c39d5b" providerId="AD" clId="Web-{184FF239-1330-4130-44C3-11156F289924}" dt="2024-02-13T16:10:01.427" v="2"/>
        <pc:sldMkLst>
          <pc:docMk/>
          <pc:sldMk cId="2303357285" sldId="869"/>
        </pc:sldMkLst>
        <pc:spChg chg="del">
          <ac:chgData name="Kiela Karina Moreno" userId="S::mpg7143@ads.northwestern.edu::1e897b35-0dd4-497a-9ab7-7a37e6c39d5b" providerId="AD" clId="Web-{184FF239-1330-4130-44C3-11156F289924}" dt="2024-02-13T16:10:01.427" v="2"/>
          <ac:spMkLst>
            <pc:docMk/>
            <pc:sldMk cId="2303357285" sldId="869"/>
            <ac:spMk id="5" creationId="{9D739684-6645-BE41-6A58-FFBFC899B68A}"/>
          </ac:spMkLst>
        </pc:spChg>
      </pc:sldChg>
    </pc:docChg>
  </pc:docChgLst>
  <pc:docChgLst>
    <pc:chgData name="Kiela Karina Moreno" userId="S::mpg7143@ads.northwestern.edu::1e897b35-0dd4-497a-9ab7-7a37e6c39d5b" providerId="AD" clId="Web-{6F2910FC-2D10-8C5B-E7AC-04F905F708FB}"/>
    <pc:docChg chg="addSld">
      <pc:chgData name="Kiela Karina Moreno" userId="S::mpg7143@ads.northwestern.edu::1e897b35-0dd4-497a-9ab7-7a37e6c39d5b" providerId="AD" clId="Web-{6F2910FC-2D10-8C5B-E7AC-04F905F708FB}" dt="2024-02-19T13:44:06.792" v="0"/>
      <pc:docMkLst>
        <pc:docMk/>
      </pc:docMkLst>
      <pc:sldChg chg="add">
        <pc:chgData name="Kiela Karina Moreno" userId="S::mpg7143@ads.northwestern.edu::1e897b35-0dd4-497a-9ab7-7a37e6c39d5b" providerId="AD" clId="Web-{6F2910FC-2D10-8C5B-E7AC-04F905F708FB}" dt="2024-02-19T13:44:06.792" v="0"/>
        <pc:sldMkLst>
          <pc:docMk/>
          <pc:sldMk cId="3156369441" sldId="906"/>
        </pc:sldMkLst>
      </pc:sldChg>
    </pc:docChg>
  </pc:docChgLst>
  <pc:docChgLst>
    <pc:chgData name="Kiela Karina Moreno" userId="S::mpg7143@ads.northwestern.edu::1e897b35-0dd4-497a-9ab7-7a37e6c39d5b" providerId="AD" clId="Web-{11EB5AE7-E387-EBC6-6EED-D077F10A2DE9}"/>
    <pc:docChg chg="addSld delSld modSld sldOrd">
      <pc:chgData name="Kiela Karina Moreno" userId="S::mpg7143@ads.northwestern.edu::1e897b35-0dd4-497a-9ab7-7a37e6c39d5b" providerId="AD" clId="Web-{11EB5AE7-E387-EBC6-6EED-D077F10A2DE9}" dt="2024-01-26T01:11:29.478" v="840"/>
      <pc:docMkLst>
        <pc:docMk/>
      </pc:docMkLst>
      <pc:sldChg chg="modSp">
        <pc:chgData name="Kiela Karina Moreno" userId="S::mpg7143@ads.northwestern.edu::1e897b35-0dd4-497a-9ab7-7a37e6c39d5b" providerId="AD" clId="Web-{11EB5AE7-E387-EBC6-6EED-D077F10A2DE9}" dt="2024-01-26T01:08:41.259" v="829"/>
        <pc:sldMkLst>
          <pc:docMk/>
          <pc:sldMk cId="1141813547" sldId="737"/>
        </pc:sldMkLst>
        <pc:spChg chg="mod">
          <ac:chgData name="Kiela Karina Moreno" userId="S::mpg7143@ads.northwestern.edu::1e897b35-0dd4-497a-9ab7-7a37e6c39d5b" providerId="AD" clId="Web-{11EB5AE7-E387-EBC6-6EED-D077F10A2DE9}" dt="2024-01-26T00:50:28.524" v="740" actId="20577"/>
          <ac:spMkLst>
            <pc:docMk/>
            <pc:sldMk cId="1141813547" sldId="737"/>
            <ac:spMk id="12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1EB5AE7-E387-EBC6-6EED-D077F10A2DE9}" dt="2024-01-26T00:50:32.055" v="741" actId="20577"/>
          <ac:spMkLst>
            <pc:docMk/>
            <pc:sldMk cId="1141813547" sldId="737"/>
            <ac:spMk id="13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1EB5AE7-E387-EBC6-6EED-D077F10A2DE9}" dt="2024-01-26T00:50:35.555" v="742" actId="20577"/>
          <ac:spMkLst>
            <pc:docMk/>
            <pc:sldMk cId="1141813547" sldId="737"/>
            <ac:spMk id="14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1EB5AE7-E387-EBC6-6EED-D077F10A2DE9}" dt="2024-01-26T00:50:42.743" v="743" actId="20577"/>
          <ac:spMkLst>
            <pc:docMk/>
            <pc:sldMk cId="1141813547" sldId="737"/>
            <ac:spMk id="18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1EB5AE7-E387-EBC6-6EED-D077F10A2DE9}" dt="2024-01-26T00:50:46.915" v="744" actId="20577"/>
          <ac:spMkLst>
            <pc:docMk/>
            <pc:sldMk cId="1141813547" sldId="737"/>
            <ac:spMk id="19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11EB5AE7-E387-EBC6-6EED-D077F10A2DE9}" dt="2024-01-26T01:08:41.259" v="829"/>
          <ac:spMkLst>
            <pc:docMk/>
            <pc:sldMk cId="1141813547" sldId="737"/>
            <ac:spMk id="23" creationId="{78B5A3B7-0107-74A6-42BE-EFADF14BEC3D}"/>
          </ac:spMkLst>
        </pc:spChg>
      </pc:sldChg>
      <pc:sldChg chg="modSp add del">
        <pc:chgData name="Kiela Karina Moreno" userId="S::mpg7143@ads.northwestern.edu::1e897b35-0dd4-497a-9ab7-7a37e6c39d5b" providerId="AD" clId="Web-{11EB5AE7-E387-EBC6-6EED-D077F10A2DE9}" dt="2024-01-26T00:56:09.805" v="782"/>
        <pc:sldMkLst>
          <pc:docMk/>
          <pc:sldMk cId="1617559145" sldId="825"/>
        </pc:sldMkLst>
        <pc:picChg chg="mod">
          <ac:chgData name="Kiela Karina Moreno" userId="S::mpg7143@ads.northwestern.edu::1e897b35-0dd4-497a-9ab7-7a37e6c39d5b" providerId="AD" clId="Web-{11EB5AE7-E387-EBC6-6EED-D077F10A2DE9}" dt="2024-01-26T00:24:06.287" v="435" actId="1076"/>
          <ac:picMkLst>
            <pc:docMk/>
            <pc:sldMk cId="1617559145" sldId="825"/>
            <ac:picMk id="8" creationId="{F6AF464B-BCF9-C413-1A61-5938E8025FD8}"/>
          </ac:picMkLst>
        </pc:picChg>
      </pc:sldChg>
      <pc:sldChg chg="addSp delSp modSp">
        <pc:chgData name="Kiela Karina Moreno" userId="S::mpg7143@ads.northwestern.edu::1e897b35-0dd4-497a-9ab7-7a37e6c39d5b" providerId="AD" clId="Web-{11EB5AE7-E387-EBC6-6EED-D077F10A2DE9}" dt="2024-01-26T01:08:03.196" v="825" actId="1076"/>
        <pc:sldMkLst>
          <pc:docMk/>
          <pc:sldMk cId="4099246298" sldId="830"/>
        </pc:sldMkLst>
        <pc:spChg chg="mod">
          <ac:chgData name="Kiela Karina Moreno" userId="S::mpg7143@ads.northwestern.edu::1e897b35-0dd4-497a-9ab7-7a37e6c39d5b" providerId="AD" clId="Web-{11EB5AE7-E387-EBC6-6EED-D077F10A2DE9}" dt="2024-01-26T00:53:56.634" v="779" actId="1076"/>
          <ac:spMkLst>
            <pc:docMk/>
            <pc:sldMk cId="4099246298" sldId="830"/>
            <ac:spMk id="3" creationId="{CF9BF4C4-C441-4125-0D36-AFACCDDD6450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46:47.821" v="727" actId="14100"/>
          <ac:spMkLst>
            <pc:docMk/>
            <pc:sldMk cId="4099246298" sldId="830"/>
            <ac:spMk id="5" creationId="{31723F5D-D907-C425-FB25-443C9127F8D2}"/>
          </ac:spMkLst>
        </pc:spChg>
        <pc:spChg chg="add del">
          <ac:chgData name="Kiela Karina Moreno" userId="S::mpg7143@ads.northwestern.edu::1e897b35-0dd4-497a-9ab7-7a37e6c39d5b" providerId="AD" clId="Web-{11EB5AE7-E387-EBC6-6EED-D077F10A2DE9}" dt="2024-01-26T00:46:17.602" v="720"/>
          <ac:spMkLst>
            <pc:docMk/>
            <pc:sldMk cId="4099246298" sldId="830"/>
            <ac:spMk id="6" creationId="{60B675C6-94C6-6AC6-C735-458484D635C2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46:40.415" v="726" actId="1076"/>
          <ac:spMkLst>
            <pc:docMk/>
            <pc:sldMk cId="4099246298" sldId="830"/>
            <ac:spMk id="7" creationId="{5C4018D8-81AF-36D5-48D9-B4ABF5C0928D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47:13.008" v="735" actId="1076"/>
          <ac:spMkLst>
            <pc:docMk/>
            <pc:sldMk cId="4099246298" sldId="830"/>
            <ac:spMk id="8" creationId="{FFB50479-1A03-39C5-3875-7597F46F262A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53:41.446" v="776" actId="1076"/>
          <ac:spMkLst>
            <pc:docMk/>
            <pc:sldMk cId="4099246298" sldId="830"/>
            <ac:spMk id="9" creationId="{A38494CB-EE44-FBDA-67F8-A56AE6807060}"/>
          </ac:spMkLst>
        </pc:spChg>
        <pc:spChg chg="add mod ord">
          <ac:chgData name="Kiela Karina Moreno" userId="S::mpg7143@ads.northwestern.edu::1e897b35-0dd4-497a-9ab7-7a37e6c39d5b" providerId="AD" clId="Web-{11EB5AE7-E387-EBC6-6EED-D077F10A2DE9}" dt="2024-01-26T00:53:51.774" v="778" actId="1076"/>
          <ac:spMkLst>
            <pc:docMk/>
            <pc:sldMk cId="4099246298" sldId="830"/>
            <ac:spMk id="10" creationId="{47D75B78-31BC-388D-A44C-F2D944EF934E}"/>
          </ac:spMkLst>
        </pc:spChg>
        <pc:spChg chg="add mod ord">
          <ac:chgData name="Kiela Karina Moreno" userId="S::mpg7143@ads.northwestern.edu::1e897b35-0dd4-497a-9ab7-7a37e6c39d5b" providerId="AD" clId="Web-{11EB5AE7-E387-EBC6-6EED-D077F10A2DE9}" dt="2024-01-26T00:53:14.884" v="772"/>
          <ac:spMkLst>
            <pc:docMk/>
            <pc:sldMk cId="4099246298" sldId="830"/>
            <ac:spMk id="11" creationId="{BE8384DB-3B7E-A4D4-BD88-95948D959E6B}"/>
          </ac:spMkLst>
        </pc:spChg>
        <pc:picChg chg="add mod">
          <ac:chgData name="Kiela Karina Moreno" userId="S::mpg7143@ads.northwestern.edu::1e897b35-0dd4-497a-9ab7-7a37e6c39d5b" providerId="AD" clId="Web-{11EB5AE7-E387-EBC6-6EED-D077F10A2DE9}" dt="2024-01-26T01:08:03.196" v="825" actId="1076"/>
          <ac:picMkLst>
            <pc:docMk/>
            <pc:sldMk cId="4099246298" sldId="830"/>
            <ac:picMk id="12" creationId="{B11771C7-349D-3F1D-D5FE-4024B38F3277}"/>
          </ac:picMkLst>
        </pc:picChg>
        <pc:picChg chg="add mod">
          <ac:chgData name="Kiela Karina Moreno" userId="S::mpg7143@ads.northwestern.edu::1e897b35-0dd4-497a-9ab7-7a37e6c39d5b" providerId="AD" clId="Web-{11EB5AE7-E387-EBC6-6EED-D077F10A2DE9}" dt="2024-01-26T01:08:00.946" v="824" actId="1076"/>
          <ac:picMkLst>
            <pc:docMk/>
            <pc:sldMk cId="4099246298" sldId="830"/>
            <ac:picMk id="13" creationId="{57368AFE-1503-7417-7C08-921A66CA871A}"/>
          </ac:picMkLst>
        </pc:picChg>
      </pc:sldChg>
      <pc:sldChg chg="modSp">
        <pc:chgData name="Kiela Karina Moreno" userId="S::mpg7143@ads.northwestern.edu::1e897b35-0dd4-497a-9ab7-7a37e6c39d5b" providerId="AD" clId="Web-{11EB5AE7-E387-EBC6-6EED-D077F10A2DE9}" dt="2024-01-26T01:06:51.056" v="814" actId="1076"/>
        <pc:sldMkLst>
          <pc:docMk/>
          <pc:sldMk cId="1881092197" sldId="855"/>
        </pc:sldMkLst>
        <pc:spChg chg="mod">
          <ac:chgData name="Kiela Karina Moreno" userId="S::mpg7143@ads.northwestern.edu::1e897b35-0dd4-497a-9ab7-7a37e6c39d5b" providerId="AD" clId="Web-{11EB5AE7-E387-EBC6-6EED-D077F10A2DE9}" dt="2024-01-26T01:06:51.056" v="814" actId="1076"/>
          <ac:spMkLst>
            <pc:docMk/>
            <pc:sldMk cId="1881092197" sldId="855"/>
            <ac:spMk id="2" creationId="{3211BF8C-E76B-5DCC-741A-A8EC35718AC9}"/>
          </ac:spMkLst>
        </pc:spChg>
        <pc:spChg chg="mod">
          <ac:chgData name="Kiela Karina Moreno" userId="S::mpg7143@ads.northwestern.edu::1e897b35-0dd4-497a-9ab7-7a37e6c39d5b" providerId="AD" clId="Web-{11EB5AE7-E387-EBC6-6EED-D077F10A2DE9}" dt="2024-01-26T01:06:46.478" v="812" actId="1076"/>
          <ac:spMkLst>
            <pc:docMk/>
            <pc:sldMk cId="1881092197" sldId="855"/>
            <ac:spMk id="3" creationId="{23C63934-04CC-F21C-59FC-C580A9F65EC3}"/>
          </ac:spMkLst>
        </pc:spChg>
      </pc:sldChg>
      <pc:sldChg chg="addSp">
        <pc:chgData name="Kiela Karina Moreno" userId="S::mpg7143@ads.northwestern.edu::1e897b35-0dd4-497a-9ab7-7a37e6c39d5b" providerId="AD" clId="Web-{11EB5AE7-E387-EBC6-6EED-D077F10A2DE9}" dt="2024-01-26T01:11:29.478" v="840"/>
        <pc:sldMkLst>
          <pc:docMk/>
          <pc:sldMk cId="2820585005" sldId="856"/>
        </pc:sldMkLst>
        <pc:inkChg chg="add">
          <ac:chgData name="Kiela Karina Moreno" userId="S::mpg7143@ads.northwestern.edu::1e897b35-0dd4-497a-9ab7-7a37e6c39d5b" providerId="AD" clId="Web-{11EB5AE7-E387-EBC6-6EED-D077F10A2DE9}" dt="2024-01-26T01:11:24.665" v="833"/>
          <ac:inkMkLst>
            <pc:docMk/>
            <pc:sldMk cId="2820585005" sldId="856"/>
            <ac:inkMk id="2" creationId="{14C09DBC-3BA3-62FC-6868-51CF89F975F7}"/>
          </ac:inkMkLst>
        </pc:inkChg>
        <pc:inkChg chg="add">
          <ac:chgData name="Kiela Karina Moreno" userId="S::mpg7143@ads.northwestern.edu::1e897b35-0dd4-497a-9ab7-7a37e6c39d5b" providerId="AD" clId="Web-{11EB5AE7-E387-EBC6-6EED-D077F10A2DE9}" dt="2024-01-26T01:11:26.759" v="834"/>
          <ac:inkMkLst>
            <pc:docMk/>
            <pc:sldMk cId="2820585005" sldId="856"/>
            <ac:inkMk id="4" creationId="{E88CD12F-E969-DC4D-B935-4A4DC82766C1}"/>
          </ac:inkMkLst>
        </pc:inkChg>
        <pc:inkChg chg="add">
          <ac:chgData name="Kiela Karina Moreno" userId="S::mpg7143@ads.northwestern.edu::1e897b35-0dd4-497a-9ab7-7a37e6c39d5b" providerId="AD" clId="Web-{11EB5AE7-E387-EBC6-6EED-D077F10A2DE9}" dt="2024-01-26T01:11:26.837" v="835"/>
          <ac:inkMkLst>
            <pc:docMk/>
            <pc:sldMk cId="2820585005" sldId="856"/>
            <ac:inkMk id="6" creationId="{77B70301-6B33-DA12-8FFE-E97D919EA280}"/>
          </ac:inkMkLst>
        </pc:inkChg>
        <pc:inkChg chg="add">
          <ac:chgData name="Kiela Karina Moreno" userId="S::mpg7143@ads.northwestern.edu::1e897b35-0dd4-497a-9ab7-7a37e6c39d5b" providerId="AD" clId="Web-{11EB5AE7-E387-EBC6-6EED-D077F10A2DE9}" dt="2024-01-26T01:11:27.946" v="836"/>
          <ac:inkMkLst>
            <pc:docMk/>
            <pc:sldMk cId="2820585005" sldId="856"/>
            <ac:inkMk id="7" creationId="{C6AD4272-53FD-6A9C-1D00-171F06EB73E2}"/>
          </ac:inkMkLst>
        </pc:inkChg>
        <pc:inkChg chg="add">
          <ac:chgData name="Kiela Karina Moreno" userId="S::mpg7143@ads.northwestern.edu::1e897b35-0dd4-497a-9ab7-7a37e6c39d5b" providerId="AD" clId="Web-{11EB5AE7-E387-EBC6-6EED-D077F10A2DE9}" dt="2024-01-26T01:11:28.540" v="837"/>
          <ac:inkMkLst>
            <pc:docMk/>
            <pc:sldMk cId="2820585005" sldId="856"/>
            <ac:inkMk id="8" creationId="{988F8916-B232-3DEB-B2C2-AB2F109E6E32}"/>
          </ac:inkMkLst>
        </pc:inkChg>
        <pc:inkChg chg="add">
          <ac:chgData name="Kiela Karina Moreno" userId="S::mpg7143@ads.northwestern.edu::1e897b35-0dd4-497a-9ab7-7a37e6c39d5b" providerId="AD" clId="Web-{11EB5AE7-E387-EBC6-6EED-D077F10A2DE9}" dt="2024-01-26T01:11:28.868" v="838"/>
          <ac:inkMkLst>
            <pc:docMk/>
            <pc:sldMk cId="2820585005" sldId="856"/>
            <ac:inkMk id="9" creationId="{B26E4F8F-AE86-3A96-C62A-887FCF0F8B0D}"/>
          </ac:inkMkLst>
        </pc:inkChg>
        <pc:inkChg chg="add">
          <ac:chgData name="Kiela Karina Moreno" userId="S::mpg7143@ads.northwestern.edu::1e897b35-0dd4-497a-9ab7-7a37e6c39d5b" providerId="AD" clId="Web-{11EB5AE7-E387-EBC6-6EED-D077F10A2DE9}" dt="2024-01-26T01:11:29.462" v="839"/>
          <ac:inkMkLst>
            <pc:docMk/>
            <pc:sldMk cId="2820585005" sldId="856"/>
            <ac:inkMk id="10" creationId="{0E686C9B-BBD3-1988-5FD2-86E5EE34397A}"/>
          </ac:inkMkLst>
        </pc:inkChg>
        <pc:inkChg chg="add">
          <ac:chgData name="Kiela Karina Moreno" userId="S::mpg7143@ads.northwestern.edu::1e897b35-0dd4-497a-9ab7-7a37e6c39d5b" providerId="AD" clId="Web-{11EB5AE7-E387-EBC6-6EED-D077F10A2DE9}" dt="2024-01-26T01:11:29.478" v="840"/>
          <ac:inkMkLst>
            <pc:docMk/>
            <pc:sldMk cId="2820585005" sldId="856"/>
            <ac:inkMk id="11" creationId="{A83FA312-40D1-BA06-F744-73C5D8661FE4}"/>
          </ac:inkMkLst>
        </pc:inkChg>
      </pc:sldChg>
      <pc:sldChg chg="modSp">
        <pc:chgData name="Kiela Karina Moreno" userId="S::mpg7143@ads.northwestern.edu::1e897b35-0dd4-497a-9ab7-7a37e6c39d5b" providerId="AD" clId="Web-{11EB5AE7-E387-EBC6-6EED-D077F10A2DE9}" dt="2024-01-26T00:47:47.712" v="737" actId="14100"/>
        <pc:sldMkLst>
          <pc:docMk/>
          <pc:sldMk cId="2665110015" sldId="857"/>
        </pc:sldMkLst>
        <pc:spChg chg="mod">
          <ac:chgData name="Kiela Karina Moreno" userId="S::mpg7143@ads.northwestern.edu::1e897b35-0dd4-497a-9ab7-7a37e6c39d5b" providerId="AD" clId="Web-{11EB5AE7-E387-EBC6-6EED-D077F10A2DE9}" dt="2024-01-26T00:47:47.712" v="737" actId="14100"/>
          <ac:spMkLst>
            <pc:docMk/>
            <pc:sldMk cId="2665110015" sldId="857"/>
            <ac:spMk id="3" creationId="{F8846CBE-83EF-4010-D9EA-14AA5B3CB2A0}"/>
          </ac:spMkLst>
        </pc:spChg>
      </pc:sldChg>
      <pc:sldChg chg="addSp delSp modSp mod setBg modNotes">
        <pc:chgData name="Kiela Karina Moreno" userId="S::mpg7143@ads.northwestern.edu::1e897b35-0dd4-497a-9ab7-7a37e6c39d5b" providerId="AD" clId="Web-{11EB5AE7-E387-EBC6-6EED-D077F10A2DE9}" dt="2024-01-26T01:09:13.915" v="832"/>
        <pc:sldMkLst>
          <pc:docMk/>
          <pc:sldMk cId="1549817843" sldId="859"/>
        </pc:sldMkLst>
        <pc:spChg chg="mod">
          <ac:chgData name="Kiela Karina Moreno" userId="S::mpg7143@ads.northwestern.edu::1e897b35-0dd4-497a-9ab7-7a37e6c39d5b" providerId="AD" clId="Web-{11EB5AE7-E387-EBC6-6EED-D077F10A2DE9}" dt="2024-01-26T00:10:46.577" v="117" actId="1076"/>
          <ac:spMkLst>
            <pc:docMk/>
            <pc:sldMk cId="1549817843" sldId="859"/>
            <ac:spMk id="3" creationId="{D1DF164C-6C8E-F933-CDE7-B27DEF5C5D66}"/>
          </ac:spMkLst>
        </pc:spChg>
        <pc:spChg chg="del">
          <ac:chgData name="Kiela Karina Moreno" userId="S::mpg7143@ads.northwestern.edu::1e897b35-0dd4-497a-9ab7-7a37e6c39d5b" providerId="AD" clId="Web-{11EB5AE7-E387-EBC6-6EED-D077F10A2DE9}" dt="2024-01-26T00:02:15.369" v="0"/>
          <ac:spMkLst>
            <pc:docMk/>
            <pc:sldMk cId="1549817843" sldId="859"/>
            <ac:spMk id="4" creationId="{5834621C-123D-190C-97E7-9C52CC7673FC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56:31.555" v="786" actId="20577"/>
          <ac:spMkLst>
            <pc:docMk/>
            <pc:sldMk cId="1549817843" sldId="859"/>
            <ac:spMk id="5" creationId="{28EEFACB-0687-4B68-E7F7-2F8CEA153D40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06:08.858" v="61" actId="1076"/>
          <ac:spMkLst>
            <pc:docMk/>
            <pc:sldMk cId="1549817843" sldId="859"/>
            <ac:spMk id="7" creationId="{2357908B-3ACD-2F38-DA9A-5878A958752A}"/>
          </ac:spMkLst>
        </pc:spChg>
        <pc:graphicFrameChg chg="add mod modGraphic">
          <ac:chgData name="Kiela Karina Moreno" userId="S::mpg7143@ads.northwestern.edu::1e897b35-0dd4-497a-9ab7-7a37e6c39d5b" providerId="AD" clId="Web-{11EB5AE7-E387-EBC6-6EED-D077F10A2DE9}" dt="2024-01-26T00:55:18.868" v="780"/>
          <ac:graphicFrameMkLst>
            <pc:docMk/>
            <pc:sldMk cId="1549817843" sldId="859"/>
            <ac:graphicFrameMk id="8" creationId="{B54B6C90-20D5-70F5-C8AE-13CFC82096BE}"/>
          </ac:graphicFrameMkLst>
        </pc:graphicFrameChg>
        <pc:inkChg chg="add del">
          <ac:chgData name="Kiela Karina Moreno" userId="S::mpg7143@ads.northwestern.edu::1e897b35-0dd4-497a-9ab7-7a37e6c39d5b" providerId="AD" clId="Web-{11EB5AE7-E387-EBC6-6EED-D077F10A2DE9}" dt="2024-01-26T01:09:02.790" v="831"/>
          <ac:inkMkLst>
            <pc:docMk/>
            <pc:sldMk cId="1549817843" sldId="859"/>
            <ac:inkMk id="3100" creationId="{A4BE881A-B191-4840-1CCF-905AB1939C92}"/>
          </ac:inkMkLst>
        </pc:inkChg>
        <pc:inkChg chg="add">
          <ac:chgData name="Kiela Karina Moreno" userId="S::mpg7143@ads.northwestern.edu::1e897b35-0dd4-497a-9ab7-7a37e6c39d5b" providerId="AD" clId="Web-{11EB5AE7-E387-EBC6-6EED-D077F10A2DE9}" dt="2024-01-26T01:09:13.915" v="832"/>
          <ac:inkMkLst>
            <pc:docMk/>
            <pc:sldMk cId="1549817843" sldId="859"/>
            <ac:inkMk id="3114" creationId="{BB3750AF-2022-C9C0-C47C-9E8EDA2A65E2}"/>
          </ac:inkMkLst>
        </pc:inkChg>
      </pc:sldChg>
      <pc:sldChg chg="addSp delSp modSp new ord">
        <pc:chgData name="Kiela Karina Moreno" userId="S::mpg7143@ads.northwestern.edu::1e897b35-0dd4-497a-9ab7-7a37e6c39d5b" providerId="AD" clId="Web-{11EB5AE7-E387-EBC6-6EED-D077F10A2DE9}" dt="2024-01-26T01:01:55.634" v="795" actId="1076"/>
        <pc:sldMkLst>
          <pc:docMk/>
          <pc:sldMk cId="3358532880" sldId="860"/>
        </pc:sldMkLst>
        <pc:spChg chg="add">
          <ac:chgData name="Kiela Karina Moreno" userId="S::mpg7143@ads.northwestern.edu::1e897b35-0dd4-497a-9ab7-7a37e6c39d5b" providerId="AD" clId="Web-{11EB5AE7-E387-EBC6-6EED-D077F10A2DE9}" dt="2024-01-26T00:18:09.905" v="377"/>
          <ac:spMkLst>
            <pc:docMk/>
            <pc:sldMk cId="3358532880" sldId="860"/>
            <ac:spMk id="3" creationId="{915C96FB-CA3E-FB7D-FA87-C8B63F874A7E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45:04.040" v="701" actId="20577"/>
          <ac:spMkLst>
            <pc:docMk/>
            <pc:sldMk cId="3358532880" sldId="860"/>
            <ac:spMk id="5" creationId="{AD69717A-2BD8-597E-FC87-0EB07ED0EC55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40:22.118" v="597" actId="20577"/>
          <ac:spMkLst>
            <pc:docMk/>
            <pc:sldMk cId="3358532880" sldId="860"/>
            <ac:spMk id="6" creationId="{0A19B7D0-D2C1-0E7C-DA5D-71EC98546092}"/>
          </ac:spMkLst>
        </pc:spChg>
        <pc:picChg chg="add del mod">
          <ac:chgData name="Kiela Karina Moreno" userId="S::mpg7143@ads.northwestern.edu::1e897b35-0dd4-497a-9ab7-7a37e6c39d5b" providerId="AD" clId="Web-{11EB5AE7-E387-EBC6-6EED-D077F10A2DE9}" dt="2024-01-26T00:30:53.053" v="509"/>
          <ac:picMkLst>
            <pc:docMk/>
            <pc:sldMk cId="3358532880" sldId="860"/>
            <ac:picMk id="7" creationId="{7D9CA99E-5446-0B51-6895-0D1AF217EA2E}"/>
          </ac:picMkLst>
        </pc:picChg>
        <pc:picChg chg="add mod">
          <ac:chgData name="Kiela Karina Moreno" userId="S::mpg7143@ads.northwestern.edu::1e897b35-0dd4-497a-9ab7-7a37e6c39d5b" providerId="AD" clId="Web-{11EB5AE7-E387-EBC6-6EED-D077F10A2DE9}" dt="2024-01-26T00:33:13.367" v="534" actId="1076"/>
          <ac:picMkLst>
            <pc:docMk/>
            <pc:sldMk cId="3358532880" sldId="860"/>
            <ac:picMk id="8" creationId="{6486A3DB-CA2B-7052-360C-64DBCA9F0A92}"/>
          </ac:picMkLst>
        </pc:picChg>
        <pc:picChg chg="add mod">
          <ac:chgData name="Kiela Karina Moreno" userId="S::mpg7143@ads.northwestern.edu::1e897b35-0dd4-497a-9ab7-7a37e6c39d5b" providerId="AD" clId="Web-{11EB5AE7-E387-EBC6-6EED-D077F10A2DE9}" dt="2024-01-26T00:51:01.633" v="745" actId="1076"/>
          <ac:picMkLst>
            <pc:docMk/>
            <pc:sldMk cId="3358532880" sldId="860"/>
            <ac:picMk id="9" creationId="{A389B444-3A7F-CA7D-21D3-8CFAC5169525}"/>
          </ac:picMkLst>
        </pc:picChg>
        <pc:picChg chg="add mod">
          <ac:chgData name="Kiela Karina Moreno" userId="S::mpg7143@ads.northwestern.edu::1e897b35-0dd4-497a-9ab7-7a37e6c39d5b" providerId="AD" clId="Web-{11EB5AE7-E387-EBC6-6EED-D077F10A2DE9}" dt="2024-01-26T01:01:55.634" v="795" actId="1076"/>
          <ac:picMkLst>
            <pc:docMk/>
            <pc:sldMk cId="3358532880" sldId="860"/>
            <ac:picMk id="10" creationId="{399102DC-10BB-3425-6E6A-162EEF0D99FE}"/>
          </ac:picMkLst>
        </pc:picChg>
      </pc:sldChg>
      <pc:sldChg chg="addSp modSp new">
        <pc:chgData name="Kiela Karina Moreno" userId="S::mpg7143@ads.northwestern.edu::1e897b35-0dd4-497a-9ab7-7a37e6c39d5b" providerId="AD" clId="Web-{11EB5AE7-E387-EBC6-6EED-D077F10A2DE9}" dt="2024-01-26T01:06:12.899" v="807" actId="1076"/>
        <pc:sldMkLst>
          <pc:docMk/>
          <pc:sldMk cId="3254557287" sldId="861"/>
        </pc:sldMkLst>
        <pc:spChg chg="add">
          <ac:chgData name="Kiela Karina Moreno" userId="S::mpg7143@ads.northwestern.edu::1e897b35-0dd4-497a-9ab7-7a37e6c39d5b" providerId="AD" clId="Web-{11EB5AE7-E387-EBC6-6EED-D077F10A2DE9}" dt="2024-01-26T00:27:14.552" v="486"/>
          <ac:spMkLst>
            <pc:docMk/>
            <pc:sldMk cId="3254557287" sldId="861"/>
            <ac:spMk id="3" creationId="{B5CF8736-CF94-7C4E-D38E-73EDEAE3BE52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50:10.712" v="739" actId="1076"/>
          <ac:spMkLst>
            <pc:docMk/>
            <pc:sldMk cId="3254557287" sldId="861"/>
            <ac:spMk id="5" creationId="{CC1A758B-11CF-30AA-57C3-72F03852AF49}"/>
          </ac:spMkLst>
        </pc:spChg>
        <pc:spChg chg="add mod">
          <ac:chgData name="Kiela Karina Moreno" userId="S::mpg7143@ads.northwestern.edu::1e897b35-0dd4-497a-9ab7-7a37e6c39d5b" providerId="AD" clId="Web-{11EB5AE7-E387-EBC6-6EED-D077F10A2DE9}" dt="2024-01-26T00:45:26.508" v="704" actId="20577"/>
          <ac:spMkLst>
            <pc:docMk/>
            <pc:sldMk cId="3254557287" sldId="861"/>
            <ac:spMk id="7" creationId="{00242547-8889-9F47-6186-47CBD0946F00}"/>
          </ac:spMkLst>
        </pc:spChg>
        <pc:picChg chg="add mod">
          <ac:chgData name="Kiela Karina Moreno" userId="S::mpg7143@ads.northwestern.edu::1e897b35-0dd4-497a-9ab7-7a37e6c39d5b" providerId="AD" clId="Web-{11EB5AE7-E387-EBC6-6EED-D077F10A2DE9}" dt="2024-01-26T00:50:03.477" v="738" actId="1076"/>
          <ac:picMkLst>
            <pc:docMk/>
            <pc:sldMk cId="3254557287" sldId="861"/>
            <ac:picMk id="8" creationId="{C94C76DA-32C2-EFB4-2211-806DE110BA6E}"/>
          </ac:picMkLst>
        </pc:picChg>
        <pc:picChg chg="add mod">
          <ac:chgData name="Kiela Karina Moreno" userId="S::mpg7143@ads.northwestern.edu::1e897b35-0dd4-497a-9ab7-7a37e6c39d5b" providerId="AD" clId="Web-{11EB5AE7-E387-EBC6-6EED-D077F10A2DE9}" dt="2024-01-26T01:06:12.899" v="807" actId="1076"/>
          <ac:picMkLst>
            <pc:docMk/>
            <pc:sldMk cId="3254557287" sldId="861"/>
            <ac:picMk id="9" creationId="{2E691C8C-BB71-2250-06CD-E53216F7A9A0}"/>
          </ac:picMkLst>
        </pc:picChg>
      </pc:sldChg>
    </pc:docChg>
  </pc:docChgLst>
  <pc:docChgLst>
    <pc:chgData name="Eileen Fleming Suse" userId="S::efs3844@ads.northwestern.edu::725c94ef-d051-42d7-9d33-8572765d592b" providerId="AD" clId="Web-{FA530A88-DB39-A5C8-059D-9AEC71AC0451}"/>
    <pc:docChg chg="mod delSld modSld">
      <pc:chgData name="Eileen Fleming Suse" userId="S::efs3844@ads.northwestern.edu::725c94ef-d051-42d7-9d33-8572765d592b" providerId="AD" clId="Web-{FA530A88-DB39-A5C8-059D-9AEC71AC0451}" dt="2024-02-17T01:58:33.898" v="25"/>
      <pc:docMkLst>
        <pc:docMk/>
      </pc:docMkLst>
      <pc:sldChg chg="modSp">
        <pc:chgData name="Eileen Fleming Suse" userId="S::efs3844@ads.northwestern.edu::725c94ef-d051-42d7-9d33-8572765d592b" providerId="AD" clId="Web-{FA530A88-DB39-A5C8-059D-9AEC71AC0451}" dt="2024-02-17T01:54:33.736" v="21" actId="1076"/>
        <pc:sldMkLst>
          <pc:docMk/>
          <pc:sldMk cId="2303357285" sldId="869"/>
        </pc:sldMkLst>
        <pc:spChg chg="mod">
          <ac:chgData name="Eileen Fleming Suse" userId="S::efs3844@ads.northwestern.edu::725c94ef-d051-42d7-9d33-8572765d592b" providerId="AD" clId="Web-{FA530A88-DB39-A5C8-059D-9AEC71AC0451}" dt="2024-02-17T01:54:33.736" v="21" actId="1076"/>
          <ac:spMkLst>
            <pc:docMk/>
            <pc:sldMk cId="2303357285" sldId="869"/>
            <ac:spMk id="4" creationId="{8C82C81E-502D-BE3D-429C-0EA81B1F57BD}"/>
          </ac:spMkLst>
        </pc:spChg>
      </pc:sldChg>
      <pc:sldChg chg="del">
        <pc:chgData name="Eileen Fleming Suse" userId="S::efs3844@ads.northwestern.edu::725c94ef-d051-42d7-9d33-8572765d592b" providerId="AD" clId="Web-{FA530A88-DB39-A5C8-059D-9AEC71AC0451}" dt="2024-02-17T01:57:28.772" v="24"/>
        <pc:sldMkLst>
          <pc:docMk/>
          <pc:sldMk cId="1991711117" sldId="879"/>
        </pc:sldMkLst>
      </pc:sldChg>
      <pc:sldChg chg="modSp mod modClrScheme chgLayout">
        <pc:chgData name="Eileen Fleming Suse" userId="S::efs3844@ads.northwestern.edu::725c94ef-d051-42d7-9d33-8572765d592b" providerId="AD" clId="Web-{FA530A88-DB39-A5C8-059D-9AEC71AC0451}" dt="2024-02-17T01:58:33.898" v="25"/>
        <pc:sldMkLst>
          <pc:docMk/>
          <pc:sldMk cId="3868503959" sldId="887"/>
        </pc:sldMkLst>
        <pc:spChg chg="mod ord">
          <ac:chgData name="Eileen Fleming Suse" userId="S::efs3844@ads.northwestern.edu::725c94ef-d051-42d7-9d33-8572765d592b" providerId="AD" clId="Web-{FA530A88-DB39-A5C8-059D-9AEC71AC0451}" dt="2024-02-17T01:58:33.898" v="25"/>
          <ac:spMkLst>
            <pc:docMk/>
            <pc:sldMk cId="3868503959" sldId="887"/>
            <ac:spMk id="3" creationId="{50AA21FC-907F-ADB5-D333-464CC1B68C46}"/>
          </ac:spMkLst>
        </pc:spChg>
        <pc:spChg chg="mod ord">
          <ac:chgData name="Eileen Fleming Suse" userId="S::efs3844@ads.northwestern.edu::725c94ef-d051-42d7-9d33-8572765d592b" providerId="AD" clId="Web-{FA530A88-DB39-A5C8-059D-9AEC71AC0451}" dt="2024-02-17T01:58:33.898" v="25"/>
          <ac:spMkLst>
            <pc:docMk/>
            <pc:sldMk cId="3868503959" sldId="887"/>
            <ac:spMk id="5" creationId="{274D469D-2A88-662E-DAE6-2B5B91F92284}"/>
          </ac:spMkLst>
        </pc:spChg>
      </pc:sldChg>
      <pc:sldChg chg="modCm">
        <pc:chgData name="Eileen Fleming Suse" userId="S::efs3844@ads.northwestern.edu::725c94ef-d051-42d7-9d33-8572765d592b" providerId="AD" clId="Web-{FA530A88-DB39-A5C8-059D-9AEC71AC0451}" dt="2024-02-17T01:56:53.521" v="23"/>
        <pc:sldMkLst>
          <pc:docMk/>
          <pc:sldMk cId="669186710" sldId="89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Eileen Fleming Suse" userId="S::efs3844@ads.northwestern.edu::725c94ef-d051-42d7-9d33-8572765d592b" providerId="AD" clId="Web-{FA530A88-DB39-A5C8-059D-9AEC71AC0451}" dt="2024-02-17T01:56:53.521" v="23"/>
              <pc2:cmMkLst xmlns:pc2="http://schemas.microsoft.com/office/powerpoint/2019/9/main/command">
                <pc:docMk/>
                <pc:sldMk cId="669186710" sldId="893"/>
                <pc2:cmMk id="{1E42278D-D952-44AD-8EF6-2C0F110B051C}"/>
              </pc2:cmMkLst>
              <pc226:cmRplyChg chg="add">
                <pc226:chgData name="Eileen Fleming Suse" userId="S::efs3844@ads.northwestern.edu::725c94ef-d051-42d7-9d33-8572765d592b" providerId="AD" clId="Web-{FA530A88-DB39-A5C8-059D-9AEC71AC0451}" dt="2024-02-17T01:56:53.521" v="23"/>
                <pc2:cmRplyMkLst xmlns:pc2="http://schemas.microsoft.com/office/powerpoint/2019/9/main/command">
                  <pc:docMk/>
                  <pc:sldMk cId="669186710" sldId="893"/>
                  <pc2:cmMk id="{1E42278D-D952-44AD-8EF6-2C0F110B051C}"/>
                  <pc2:cmRplyMk id="{C887E3BC-5959-431C-8CC4-84250BF83B20}"/>
                </pc2:cmRplyMkLst>
              </pc226:cmRplyChg>
            </pc226:cmChg>
          </p:ext>
        </pc:extLst>
      </pc:sldChg>
    </pc:docChg>
  </pc:docChgLst>
  <pc:docChgLst>
    <pc:chgData name="Kiela Karina Moreno" userId="S::mpg7143@ads.northwestern.edu::1e897b35-0dd4-497a-9ab7-7a37e6c39d5b" providerId="AD" clId="Web-{E68D74EA-7EE9-BC88-EB11-65544526305A}"/>
    <pc:docChg chg="delSld">
      <pc:chgData name="Kiela Karina Moreno" userId="S::mpg7143@ads.northwestern.edu::1e897b35-0dd4-497a-9ab7-7a37e6c39d5b" providerId="AD" clId="Web-{E68D74EA-7EE9-BC88-EB11-65544526305A}" dt="2024-02-07T16:48:21.281" v="0"/>
      <pc:docMkLst>
        <pc:docMk/>
      </pc:docMkLst>
      <pc:sldChg chg="del">
        <pc:chgData name="Kiela Karina Moreno" userId="S::mpg7143@ads.northwestern.edu::1e897b35-0dd4-497a-9ab7-7a37e6c39d5b" providerId="AD" clId="Web-{E68D74EA-7EE9-BC88-EB11-65544526305A}" dt="2024-02-07T16:48:21.281" v="0"/>
        <pc:sldMkLst>
          <pc:docMk/>
          <pc:sldMk cId="3493254750" sldId="862"/>
        </pc:sldMkLst>
      </pc:sldChg>
    </pc:docChg>
  </pc:docChgLst>
  <pc:docChgLst>
    <pc:chgData name="Kiela Karina Moreno" userId="S::mpg7143@ads.northwestern.edu::1e897b35-0dd4-497a-9ab7-7a37e6c39d5b" providerId="AD" clId="Web-{4BA6DF81-5C2D-D906-74D5-5385909F401D}"/>
    <pc:docChg chg="modSld">
      <pc:chgData name="Kiela Karina Moreno" userId="S::mpg7143@ads.northwestern.edu::1e897b35-0dd4-497a-9ab7-7a37e6c39d5b" providerId="AD" clId="Web-{4BA6DF81-5C2D-D906-74D5-5385909F401D}" dt="2024-02-07T15:53:21.820" v="2" actId="20577"/>
      <pc:docMkLst>
        <pc:docMk/>
      </pc:docMkLst>
      <pc:sldChg chg="modSp">
        <pc:chgData name="Kiela Karina Moreno" userId="S::mpg7143@ads.northwestern.edu::1e897b35-0dd4-497a-9ab7-7a37e6c39d5b" providerId="AD" clId="Web-{4BA6DF81-5C2D-D906-74D5-5385909F401D}" dt="2024-02-07T15:53:21.820" v="2" actId="20577"/>
        <pc:sldMkLst>
          <pc:docMk/>
          <pc:sldMk cId="1548499057" sldId="867"/>
        </pc:sldMkLst>
        <pc:spChg chg="mod">
          <ac:chgData name="Kiela Karina Moreno" userId="S::mpg7143@ads.northwestern.edu::1e897b35-0dd4-497a-9ab7-7a37e6c39d5b" providerId="AD" clId="Web-{4BA6DF81-5C2D-D906-74D5-5385909F401D}" dt="2024-02-07T15:53:21.820" v="2" actId="20577"/>
          <ac:spMkLst>
            <pc:docMk/>
            <pc:sldMk cId="1548499057" sldId="867"/>
            <ac:spMk id="7" creationId="{7C5994FE-ED51-DDC2-A1E8-43D1A63531A2}"/>
          </ac:spMkLst>
        </pc:spChg>
      </pc:sldChg>
    </pc:docChg>
  </pc:docChgLst>
  <pc:docChgLst>
    <pc:chgData name="Eileen Fleming Suse" userId="S::efs3844@ads.northwestern.edu::725c94ef-d051-42d7-9d33-8572765d592b" providerId="AD" clId="Web-{B4E53A6E-E1F4-D5D8-80F2-17C9D229D6CD}"/>
    <pc:docChg chg="addSld delSld modSld addMainMaster modMainMaster">
      <pc:chgData name="Eileen Fleming Suse" userId="S::efs3844@ads.northwestern.edu::725c94ef-d051-42d7-9d33-8572765d592b" providerId="AD" clId="Web-{B4E53A6E-E1F4-D5D8-80F2-17C9D229D6CD}" dt="2024-02-18T22:00:34.617" v="18"/>
      <pc:docMkLst>
        <pc:docMk/>
      </pc:docMkLst>
      <pc:sldChg chg="modCm">
        <pc:chgData name="Eileen Fleming Suse" userId="S::efs3844@ads.northwestern.edu::725c94ef-d051-42d7-9d33-8572765d592b" providerId="AD" clId="Web-{B4E53A6E-E1F4-D5D8-80F2-17C9D229D6CD}" dt="2024-02-18T21:59:48.772" v="17"/>
        <pc:sldMkLst>
          <pc:docMk/>
          <pc:sldMk cId="1549817843" sldId="8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Eileen Fleming Suse" userId="S::efs3844@ads.northwestern.edu::725c94ef-d051-42d7-9d33-8572765d592b" providerId="AD" clId="Web-{B4E53A6E-E1F4-D5D8-80F2-17C9D229D6CD}" dt="2024-02-18T21:59:48.772" v="17"/>
              <pc2:cmMkLst xmlns:pc2="http://schemas.microsoft.com/office/powerpoint/2019/9/main/command">
                <pc:docMk/>
                <pc:sldMk cId="1549817843" sldId="859"/>
                <pc2:cmMk id="{871CD6B5-C642-41C2-994D-168230D8AF95}"/>
              </pc2:cmMkLst>
              <pc226:cmRplyChg chg="add">
                <pc226:chgData name="Eileen Fleming Suse" userId="S::efs3844@ads.northwestern.edu::725c94ef-d051-42d7-9d33-8572765d592b" providerId="AD" clId="Web-{B4E53A6E-E1F4-D5D8-80F2-17C9D229D6CD}" dt="2024-02-18T21:59:48.772" v="17"/>
                <pc2:cmRplyMkLst xmlns:pc2="http://schemas.microsoft.com/office/powerpoint/2019/9/main/command">
                  <pc:docMk/>
                  <pc:sldMk cId="1549817843" sldId="859"/>
                  <pc2:cmMk id="{871CD6B5-C642-41C2-994D-168230D8AF95}"/>
                  <pc2:cmRplyMk id="{FD976FDD-5842-4238-BB15-8946D969A711}"/>
                </pc2:cmRplyMkLst>
              </pc226:cmRplyChg>
            </pc226:cmChg>
          </p:ext>
        </pc:extLst>
      </pc:sldChg>
      <pc:sldChg chg="addSp delSp modSp mod modClrScheme chgLayout">
        <pc:chgData name="Eileen Fleming Suse" userId="S::efs3844@ads.northwestern.edu::725c94ef-d051-42d7-9d33-8572765d592b" providerId="AD" clId="Web-{B4E53A6E-E1F4-D5D8-80F2-17C9D229D6CD}" dt="2024-02-18T21:58:42.629" v="16" actId="1076"/>
        <pc:sldMkLst>
          <pc:docMk/>
          <pc:sldMk cId="2806931985" sldId="888"/>
        </pc:sldMkLst>
        <pc:spChg chg="mod ord">
          <ac:chgData name="Eileen Fleming Suse" userId="S::efs3844@ads.northwestern.edu::725c94ef-d051-42d7-9d33-8572765d592b" providerId="AD" clId="Web-{B4E53A6E-E1F4-D5D8-80F2-17C9D229D6CD}" dt="2024-02-18T21:58:12.909" v="10"/>
          <ac:spMkLst>
            <pc:docMk/>
            <pc:sldMk cId="2806931985" sldId="888"/>
            <ac:spMk id="4" creationId="{B2A4B5DC-0432-49B8-02DA-1B7242F7B8CF}"/>
          </ac:spMkLst>
        </pc:spChg>
        <pc:spChg chg="mod ord">
          <ac:chgData name="Eileen Fleming Suse" userId="S::efs3844@ads.northwestern.edu::725c94ef-d051-42d7-9d33-8572765d592b" providerId="AD" clId="Web-{B4E53A6E-E1F4-D5D8-80F2-17C9D229D6CD}" dt="2024-02-18T21:58:12.909" v="10"/>
          <ac:spMkLst>
            <pc:docMk/>
            <pc:sldMk cId="2806931985" sldId="888"/>
            <ac:spMk id="5" creationId="{BA8625FE-B64F-8473-62B7-FF30B54DFD21}"/>
          </ac:spMkLst>
        </pc:spChg>
        <pc:spChg chg="add del mod ord">
          <ac:chgData name="Eileen Fleming Suse" userId="S::efs3844@ads.northwestern.edu::725c94ef-d051-42d7-9d33-8572765d592b" providerId="AD" clId="Web-{B4E53A6E-E1F4-D5D8-80F2-17C9D229D6CD}" dt="2024-02-18T21:58:38.270" v="15"/>
          <ac:spMkLst>
            <pc:docMk/>
            <pc:sldMk cId="2806931985" sldId="888"/>
            <ac:spMk id="19" creationId="{A5C29F9A-244D-AFF3-BB45-5CBF712FFE31}"/>
          </ac:spMkLst>
        </pc:spChg>
        <pc:spChg chg="mod">
          <ac:chgData name="Eileen Fleming Suse" userId="S::efs3844@ads.northwestern.edu::725c94ef-d051-42d7-9d33-8572765d592b" providerId="AD" clId="Web-{B4E53A6E-E1F4-D5D8-80F2-17C9D229D6CD}" dt="2024-02-18T21:58:42.629" v="16" actId="1076"/>
          <ac:spMkLst>
            <pc:docMk/>
            <pc:sldMk cId="2806931985" sldId="888"/>
            <ac:spMk id="27" creationId="{880C80B2-984E-4C91-03F3-2781C2F14BCD}"/>
          </ac:spMkLst>
        </pc:spChg>
        <pc:graphicFrameChg chg="mod ord">
          <ac:chgData name="Eileen Fleming Suse" userId="S::efs3844@ads.northwestern.edu::725c94ef-d051-42d7-9d33-8572765d592b" providerId="AD" clId="Web-{B4E53A6E-E1F4-D5D8-80F2-17C9D229D6CD}" dt="2024-02-18T21:58:21.644" v="11" actId="14100"/>
          <ac:graphicFrameMkLst>
            <pc:docMk/>
            <pc:sldMk cId="2806931985" sldId="888"/>
            <ac:graphicFrameMk id="8" creationId="{AA6F95A4-E644-E141-85AC-FEE639D90833}"/>
          </ac:graphicFrameMkLst>
        </pc:graphicFrameChg>
      </pc:sldChg>
      <pc:sldChg chg="add">
        <pc:chgData name="Eileen Fleming Suse" userId="S::efs3844@ads.northwestern.edu::725c94ef-d051-42d7-9d33-8572765d592b" providerId="AD" clId="Web-{B4E53A6E-E1F4-D5D8-80F2-17C9D229D6CD}" dt="2024-02-18T21:57:16.502" v="0"/>
        <pc:sldMkLst>
          <pc:docMk/>
          <pc:sldMk cId="607739578" sldId="897"/>
        </pc:sldMkLst>
      </pc:sldChg>
      <pc:sldChg chg="add">
        <pc:chgData name="Eileen Fleming Suse" userId="S::efs3844@ads.northwestern.edu::725c94ef-d051-42d7-9d33-8572765d592b" providerId="AD" clId="Web-{B4E53A6E-E1F4-D5D8-80F2-17C9D229D6CD}" dt="2024-02-18T21:57:16.814" v="1"/>
        <pc:sldMkLst>
          <pc:docMk/>
          <pc:sldMk cId="472997943" sldId="898"/>
        </pc:sldMkLst>
      </pc:sldChg>
      <pc:sldChg chg="add">
        <pc:chgData name="Eileen Fleming Suse" userId="S::efs3844@ads.northwestern.edu::725c94ef-d051-42d7-9d33-8572765d592b" providerId="AD" clId="Web-{B4E53A6E-E1F4-D5D8-80F2-17C9D229D6CD}" dt="2024-02-18T21:57:19.189" v="2"/>
        <pc:sldMkLst>
          <pc:docMk/>
          <pc:sldMk cId="2706317712" sldId="899"/>
        </pc:sldMkLst>
      </pc:sldChg>
      <pc:sldChg chg="add">
        <pc:chgData name="Eileen Fleming Suse" userId="S::efs3844@ads.northwestern.edu::725c94ef-d051-42d7-9d33-8572765d592b" providerId="AD" clId="Web-{B4E53A6E-E1F4-D5D8-80F2-17C9D229D6CD}" dt="2024-02-18T21:57:19.470" v="3"/>
        <pc:sldMkLst>
          <pc:docMk/>
          <pc:sldMk cId="2393152083" sldId="900"/>
        </pc:sldMkLst>
      </pc:sldChg>
      <pc:sldChg chg="add">
        <pc:chgData name="Eileen Fleming Suse" userId="S::efs3844@ads.northwestern.edu::725c94ef-d051-42d7-9d33-8572765d592b" providerId="AD" clId="Web-{B4E53A6E-E1F4-D5D8-80F2-17C9D229D6CD}" dt="2024-02-18T21:57:19.924" v="4"/>
        <pc:sldMkLst>
          <pc:docMk/>
          <pc:sldMk cId="897238015" sldId="901"/>
        </pc:sldMkLst>
      </pc:sldChg>
      <pc:sldChg chg="add">
        <pc:chgData name="Eileen Fleming Suse" userId="S::efs3844@ads.northwestern.edu::725c94ef-d051-42d7-9d33-8572765d592b" providerId="AD" clId="Web-{B4E53A6E-E1F4-D5D8-80F2-17C9D229D6CD}" dt="2024-02-18T21:57:20.236" v="5"/>
        <pc:sldMkLst>
          <pc:docMk/>
          <pc:sldMk cId="3017693889" sldId="902"/>
        </pc:sldMkLst>
      </pc:sldChg>
      <pc:sldChg chg="add">
        <pc:chgData name="Eileen Fleming Suse" userId="S::efs3844@ads.northwestern.edu::725c94ef-d051-42d7-9d33-8572765d592b" providerId="AD" clId="Web-{B4E53A6E-E1F4-D5D8-80F2-17C9D229D6CD}" dt="2024-02-18T21:57:20.408" v="6"/>
        <pc:sldMkLst>
          <pc:docMk/>
          <pc:sldMk cId="2380553176" sldId="903"/>
        </pc:sldMkLst>
      </pc:sldChg>
      <pc:sldChg chg="add">
        <pc:chgData name="Eileen Fleming Suse" userId="S::efs3844@ads.northwestern.edu::725c94ef-d051-42d7-9d33-8572765d592b" providerId="AD" clId="Web-{B4E53A6E-E1F4-D5D8-80F2-17C9D229D6CD}" dt="2024-02-18T21:57:20.752" v="7"/>
        <pc:sldMkLst>
          <pc:docMk/>
          <pc:sldMk cId="726621558" sldId="904"/>
        </pc:sldMkLst>
      </pc:sldChg>
      <pc:sldChg chg="add">
        <pc:chgData name="Eileen Fleming Suse" userId="S::efs3844@ads.northwestern.edu::725c94ef-d051-42d7-9d33-8572765d592b" providerId="AD" clId="Web-{B4E53A6E-E1F4-D5D8-80F2-17C9D229D6CD}" dt="2024-02-18T21:57:21.205" v="8"/>
        <pc:sldMkLst>
          <pc:docMk/>
          <pc:sldMk cId="3916128617" sldId="905"/>
        </pc:sldMkLst>
      </pc:sldChg>
      <pc:sldChg chg="add del">
        <pc:chgData name="Eileen Fleming Suse" userId="S::efs3844@ads.northwestern.edu::725c94ef-d051-42d7-9d33-8572765d592b" providerId="AD" clId="Web-{B4E53A6E-E1F4-D5D8-80F2-17C9D229D6CD}" dt="2024-02-18T22:00:34.617" v="18"/>
        <pc:sldMkLst>
          <pc:docMk/>
          <pc:sldMk cId="3934340445" sldId="906"/>
        </pc:sldMkLst>
      </pc:sldChg>
      <pc:sldMasterChg chg="addSldLayout">
        <pc:chgData name="Eileen Fleming Suse" userId="S::efs3844@ads.northwestern.edu::725c94ef-d051-42d7-9d33-8572765d592b" providerId="AD" clId="Web-{B4E53A6E-E1F4-D5D8-80F2-17C9D229D6CD}" dt="2024-02-18T21:57:16.502" v="0"/>
        <pc:sldMasterMkLst>
          <pc:docMk/>
          <pc:sldMasterMk cId="2814031207" sldId="2147483648"/>
        </pc:sldMasterMkLst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3571024197" sldId="2147483649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2094361594" sldId="2147483650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1848166804" sldId="2147483651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2335502072" sldId="2147483652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1842031772" sldId="2147483653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61004444" sldId="2147483654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265051592" sldId="2147483655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4050157989" sldId="2147483656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3291997434" sldId="2147483657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547243984" sldId="2147483658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2633844382" sldId="2147483659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3496711677" sldId="2147483660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1450242695" sldId="2147483661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2632947988" sldId="2147483662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2128211053" sldId="2147483663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464977884" sldId="2147483664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3326133636" sldId="2147483665"/>
          </pc:sldLayoutMkLst>
        </pc:sldLayoutChg>
        <pc:sldLayoutChg chg="ad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814031207" sldId="2147483648"/>
            <pc:sldLayoutMk cId="2343895164" sldId="2147483666"/>
          </pc:sldLayoutMkLst>
        </pc:sldLayoutChg>
      </pc:sldMasterChg>
      <pc:sldMasterChg chg="replId modSldLayout">
        <pc:chgData name="Eileen Fleming Suse" userId="S::efs3844@ads.northwestern.edu::725c94ef-d051-42d7-9d33-8572765d592b" providerId="AD" clId="Web-{B4E53A6E-E1F4-D5D8-80F2-17C9D229D6CD}" dt="2024-02-18T21:57:16.502" v="0"/>
        <pc:sldMasterMkLst>
          <pc:docMk/>
          <pc:sldMasterMk cId="2460954070" sldId="2147488246"/>
        </pc:sldMasterMkLst>
        <pc:sldLayoutChg chg="replI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460954070" sldId="2147488246"/>
            <pc:sldLayoutMk cId="2385387890" sldId="2147488247"/>
          </pc:sldLayoutMkLst>
        </pc:sldLayoutChg>
        <pc:sldLayoutChg chg="replI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460954070" sldId="2147488246"/>
            <pc:sldLayoutMk cId="949138452" sldId="2147488248"/>
          </pc:sldLayoutMkLst>
        </pc:sldLayoutChg>
        <pc:sldLayoutChg chg="replI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460954070" sldId="2147488246"/>
            <pc:sldLayoutMk cId="2591524520" sldId="2147488249"/>
          </pc:sldLayoutMkLst>
        </pc:sldLayoutChg>
        <pc:sldLayoutChg chg="replI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460954070" sldId="2147488246"/>
            <pc:sldLayoutMk cId="1203092039" sldId="2147488250"/>
          </pc:sldLayoutMkLst>
        </pc:sldLayoutChg>
        <pc:sldLayoutChg chg="replI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460954070" sldId="2147488246"/>
            <pc:sldLayoutMk cId="3733172339" sldId="2147488251"/>
          </pc:sldLayoutMkLst>
        </pc:sldLayoutChg>
        <pc:sldLayoutChg chg="replId">
          <pc:chgData name="Eileen Fleming Suse" userId="S::efs3844@ads.northwestern.edu::725c94ef-d051-42d7-9d33-8572765d592b" providerId="AD" clId="Web-{B4E53A6E-E1F4-D5D8-80F2-17C9D229D6CD}" dt="2024-02-18T21:57:16.502" v="0"/>
          <pc:sldLayoutMkLst>
            <pc:docMk/>
            <pc:sldMasterMk cId="2460954070" sldId="2147488246"/>
            <pc:sldLayoutMk cId="3210312558" sldId="2147488252"/>
          </pc:sldLayoutMkLst>
        </pc:sldLayoutChg>
      </pc:sldMasterChg>
    </pc:docChg>
  </pc:docChgLst>
  <pc:docChgLst>
    <pc:chgData name="Kiela Karina Moreno" userId="S::mpg7143@ads.northwestern.edu::1e897b35-0dd4-497a-9ab7-7a37e6c39d5b" providerId="AD" clId="Web-{8CF8E51C-0F4A-1FB7-84AD-BC0BC27DC708}"/>
    <pc:docChg chg="modSld">
      <pc:chgData name="Kiela Karina Moreno" userId="S::mpg7143@ads.northwestern.edu::1e897b35-0dd4-497a-9ab7-7a37e6c39d5b" providerId="AD" clId="Web-{8CF8E51C-0F4A-1FB7-84AD-BC0BC27DC708}" dt="2024-02-14T03:27:35.687" v="1" actId="20577"/>
      <pc:docMkLst>
        <pc:docMk/>
      </pc:docMkLst>
      <pc:sldChg chg="modSp">
        <pc:chgData name="Kiela Karina Moreno" userId="S::mpg7143@ads.northwestern.edu::1e897b35-0dd4-497a-9ab7-7a37e6c39d5b" providerId="AD" clId="Web-{8CF8E51C-0F4A-1FB7-84AD-BC0BC27DC708}" dt="2024-02-14T03:27:35.687" v="1" actId="20577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8CF8E51C-0F4A-1FB7-84AD-BC0BC27DC708}" dt="2024-02-14T03:27:35.687" v="1" actId="20577"/>
          <ac:spMkLst>
            <pc:docMk/>
            <pc:sldMk cId="2820585005" sldId="856"/>
            <ac:spMk id="5" creationId="{128C267F-D634-3898-5F27-33D0A5C5B94E}"/>
          </ac:spMkLst>
        </pc:spChg>
      </pc:sldChg>
    </pc:docChg>
  </pc:docChgLst>
  <pc:docChgLst>
    <pc:chgData name="Eileen Fleming Suse" userId="S::efs3844@ads.northwestern.edu::725c94ef-d051-42d7-9d33-8572765d592b" providerId="AD" clId="Web-{914821D3-673D-1A0A-C8D5-10CEE0E01D56}"/>
    <pc:docChg chg="addSld delSld modSld sldOrd">
      <pc:chgData name="Eileen Fleming Suse" userId="S::efs3844@ads.northwestern.edu::725c94ef-d051-42d7-9d33-8572765d592b" providerId="AD" clId="Web-{914821D3-673D-1A0A-C8D5-10CEE0E01D56}" dt="2024-02-16T20:08:48.814" v="452"/>
      <pc:docMkLst>
        <pc:docMk/>
      </pc:docMkLst>
      <pc:sldChg chg="modSp">
        <pc:chgData name="Eileen Fleming Suse" userId="S::efs3844@ads.northwestern.edu::725c94ef-d051-42d7-9d33-8572765d592b" providerId="AD" clId="Web-{914821D3-673D-1A0A-C8D5-10CEE0E01D56}" dt="2024-02-16T19:57:01.909" v="273" actId="20577"/>
        <pc:sldMkLst>
          <pc:docMk/>
          <pc:sldMk cId="807528301" sldId="787"/>
        </pc:sldMkLst>
        <pc:spChg chg="mod">
          <ac:chgData name="Eileen Fleming Suse" userId="S::efs3844@ads.northwestern.edu::725c94ef-d051-42d7-9d33-8572765d592b" providerId="AD" clId="Web-{914821D3-673D-1A0A-C8D5-10CEE0E01D56}" dt="2024-02-16T19:57:01.909" v="273" actId="20577"/>
          <ac:spMkLst>
            <pc:docMk/>
            <pc:sldMk cId="807528301" sldId="787"/>
            <ac:spMk id="9" creationId="{BB0710AF-590A-EC77-D10B-542B21941BBC}"/>
          </ac:spMkLst>
        </pc:spChg>
      </pc:sldChg>
      <pc:sldChg chg="modSp">
        <pc:chgData name="Eileen Fleming Suse" userId="S::efs3844@ads.northwestern.edu::725c94ef-d051-42d7-9d33-8572765d592b" providerId="AD" clId="Web-{914821D3-673D-1A0A-C8D5-10CEE0E01D56}" dt="2024-02-16T20:07:39.250" v="411" actId="20577"/>
        <pc:sldMkLst>
          <pc:docMk/>
          <pc:sldMk cId="1383153618" sldId="832"/>
        </pc:sldMkLst>
        <pc:spChg chg="mod">
          <ac:chgData name="Eileen Fleming Suse" userId="S::efs3844@ads.northwestern.edu::725c94ef-d051-42d7-9d33-8572765d592b" providerId="AD" clId="Web-{914821D3-673D-1A0A-C8D5-10CEE0E01D56}" dt="2024-02-16T20:07:39.250" v="411" actId="20577"/>
          <ac:spMkLst>
            <pc:docMk/>
            <pc:sldMk cId="1383153618" sldId="832"/>
            <ac:spMk id="3" creationId="{A8FB859F-8E0E-956F-2CC7-6B79360725AD}"/>
          </ac:spMkLst>
        </pc:spChg>
      </pc:sldChg>
      <pc:sldChg chg="modSp">
        <pc:chgData name="Eileen Fleming Suse" userId="S::efs3844@ads.northwestern.edu::725c94ef-d051-42d7-9d33-8572765d592b" providerId="AD" clId="Web-{914821D3-673D-1A0A-C8D5-10CEE0E01D56}" dt="2024-02-16T20:08:11.563" v="421" actId="20577"/>
        <pc:sldMkLst>
          <pc:docMk/>
          <pc:sldMk cId="2701760186" sldId="833"/>
        </pc:sldMkLst>
        <pc:graphicFrameChg chg="modGraphic">
          <ac:chgData name="Eileen Fleming Suse" userId="S::efs3844@ads.northwestern.edu::725c94ef-d051-42d7-9d33-8572765d592b" providerId="AD" clId="Web-{914821D3-673D-1A0A-C8D5-10CEE0E01D56}" dt="2024-02-16T20:08:11.563" v="421" actId="20577"/>
          <ac:graphicFrameMkLst>
            <pc:docMk/>
            <pc:sldMk cId="2701760186" sldId="833"/>
            <ac:graphicFrameMk id="7" creationId="{D93EF601-CA84-ECB1-08DF-C8BAEC274FE9}"/>
          </ac:graphicFrameMkLst>
        </pc:graphicFrameChg>
      </pc:sldChg>
      <pc:sldChg chg="modSp">
        <pc:chgData name="Eileen Fleming Suse" userId="S::efs3844@ads.northwestern.edu::725c94ef-d051-42d7-9d33-8572765d592b" providerId="AD" clId="Web-{914821D3-673D-1A0A-C8D5-10CEE0E01D56}" dt="2024-02-16T20:08:48.814" v="452"/>
        <pc:sldMkLst>
          <pc:docMk/>
          <pc:sldMk cId="3117634655" sldId="845"/>
        </pc:sldMkLst>
        <pc:graphicFrameChg chg="mod modGraphic">
          <ac:chgData name="Eileen Fleming Suse" userId="S::efs3844@ads.northwestern.edu::725c94ef-d051-42d7-9d33-8572765d592b" providerId="AD" clId="Web-{914821D3-673D-1A0A-C8D5-10CEE0E01D56}" dt="2024-02-16T20:08:48.814" v="452"/>
          <ac:graphicFrameMkLst>
            <pc:docMk/>
            <pc:sldMk cId="3117634655" sldId="845"/>
            <ac:graphicFrameMk id="6" creationId="{3349F207-60F4-234D-4729-00A6824BBB25}"/>
          </ac:graphicFrameMkLst>
        </pc:graphicFrameChg>
      </pc:sldChg>
      <pc:sldChg chg="del">
        <pc:chgData name="Eileen Fleming Suse" userId="S::efs3844@ads.northwestern.edu::725c94ef-d051-42d7-9d33-8572765d592b" providerId="AD" clId="Web-{914821D3-673D-1A0A-C8D5-10CEE0E01D56}" dt="2024-02-16T20:08:27.376" v="422"/>
        <pc:sldMkLst>
          <pc:docMk/>
          <pc:sldMk cId="1663322964" sldId="846"/>
        </pc:sldMkLst>
      </pc:sldChg>
      <pc:sldChg chg="modSp">
        <pc:chgData name="Eileen Fleming Suse" userId="S::efs3844@ads.northwestern.edu::725c94ef-d051-42d7-9d33-8572765d592b" providerId="AD" clId="Web-{914821D3-673D-1A0A-C8D5-10CEE0E01D56}" dt="2024-02-16T19:43:09.016" v="233" actId="20577"/>
        <pc:sldMkLst>
          <pc:docMk/>
          <pc:sldMk cId="1549817843" sldId="859"/>
        </pc:sldMkLst>
        <pc:graphicFrameChg chg="modGraphic">
          <ac:chgData name="Eileen Fleming Suse" userId="S::efs3844@ads.northwestern.edu::725c94ef-d051-42d7-9d33-8572765d592b" providerId="AD" clId="Web-{914821D3-673D-1A0A-C8D5-10CEE0E01D56}" dt="2024-02-16T19:43:09.016" v="233" actId="20577"/>
          <ac:graphicFrameMkLst>
            <pc:docMk/>
            <pc:sldMk cId="1549817843" sldId="859"/>
            <ac:graphicFrameMk id="8" creationId="{B54B6C90-20D5-70F5-C8AE-13CFC82096BE}"/>
          </ac:graphicFrameMkLst>
        </pc:graphicFrameChg>
      </pc:sldChg>
      <pc:sldChg chg="modSp modNotes">
        <pc:chgData name="Eileen Fleming Suse" userId="S::efs3844@ads.northwestern.edu::725c94ef-d051-42d7-9d33-8572765d592b" providerId="AD" clId="Web-{914821D3-673D-1A0A-C8D5-10CEE0E01D56}" dt="2024-02-16T19:41:12.311" v="211"/>
        <pc:sldMkLst>
          <pc:docMk/>
          <pc:sldMk cId="3358532880" sldId="860"/>
        </pc:sldMkLst>
        <pc:spChg chg="mod">
          <ac:chgData name="Eileen Fleming Suse" userId="S::efs3844@ads.northwestern.edu::725c94ef-d051-42d7-9d33-8572765d592b" providerId="AD" clId="Web-{914821D3-673D-1A0A-C8D5-10CEE0E01D56}" dt="2024-02-16T19:40:10.544" v="138" actId="20577"/>
          <ac:spMkLst>
            <pc:docMk/>
            <pc:sldMk cId="3358532880" sldId="860"/>
            <ac:spMk id="6" creationId="{0A19B7D0-D2C1-0E7C-DA5D-71EC98546092}"/>
          </ac:spMkLst>
        </pc:spChg>
        <pc:picChg chg="mod">
          <ac:chgData name="Eileen Fleming Suse" userId="S::efs3844@ads.northwestern.edu::725c94ef-d051-42d7-9d33-8572765d592b" providerId="AD" clId="Web-{914821D3-673D-1A0A-C8D5-10CEE0E01D56}" dt="2024-02-16T19:40:11.950" v="139" actId="1076"/>
          <ac:picMkLst>
            <pc:docMk/>
            <pc:sldMk cId="3358532880" sldId="860"/>
            <ac:picMk id="8" creationId="{6486A3DB-CA2B-7052-360C-64DBCA9F0A92}"/>
          </ac:picMkLst>
        </pc:picChg>
      </pc:sldChg>
      <pc:sldChg chg="modSp modNotes">
        <pc:chgData name="Eileen Fleming Suse" userId="S::efs3844@ads.northwestern.edu::725c94ef-d051-42d7-9d33-8572765d592b" providerId="AD" clId="Web-{914821D3-673D-1A0A-C8D5-10CEE0E01D56}" dt="2024-02-16T19:48:36.914" v="263"/>
        <pc:sldMkLst>
          <pc:docMk/>
          <pc:sldMk cId="3254557287" sldId="861"/>
        </pc:sldMkLst>
        <pc:spChg chg="mod">
          <ac:chgData name="Eileen Fleming Suse" userId="S::efs3844@ads.northwestern.edu::725c94ef-d051-42d7-9d33-8572765d592b" providerId="AD" clId="Web-{914821D3-673D-1A0A-C8D5-10CEE0E01D56}" dt="2024-02-16T19:47:56.882" v="257" actId="20577"/>
          <ac:spMkLst>
            <pc:docMk/>
            <pc:sldMk cId="3254557287" sldId="861"/>
            <ac:spMk id="7" creationId="{00242547-8889-9F47-6186-47CBD0946F00}"/>
          </ac:spMkLst>
        </pc:spChg>
      </pc:sldChg>
      <pc:sldChg chg="ord">
        <pc:chgData name="Eileen Fleming Suse" userId="S::efs3844@ads.northwestern.edu::725c94ef-d051-42d7-9d33-8572765d592b" providerId="AD" clId="Web-{914821D3-673D-1A0A-C8D5-10CEE0E01D56}" dt="2024-02-16T19:32:36.409" v="17"/>
        <pc:sldMkLst>
          <pc:docMk/>
          <pc:sldMk cId="1914631794" sldId="866"/>
        </pc:sldMkLst>
      </pc:sldChg>
      <pc:sldChg chg="modNotes">
        <pc:chgData name="Eileen Fleming Suse" userId="S::efs3844@ads.northwestern.edu::725c94ef-d051-42d7-9d33-8572765d592b" providerId="AD" clId="Web-{914821D3-673D-1A0A-C8D5-10CEE0E01D56}" dt="2024-02-16T20:00:24.553" v="387"/>
        <pc:sldMkLst>
          <pc:docMk/>
          <pc:sldMk cId="1548499057" sldId="867"/>
        </pc:sldMkLst>
      </pc:sldChg>
      <pc:sldChg chg="modNotes">
        <pc:chgData name="Eileen Fleming Suse" userId="S::efs3844@ads.northwestern.edu::725c94ef-d051-42d7-9d33-8572765d592b" providerId="AD" clId="Web-{914821D3-673D-1A0A-C8D5-10CEE0E01D56}" dt="2024-02-16T19:49:41.337" v="267"/>
        <pc:sldMkLst>
          <pc:docMk/>
          <pc:sldMk cId="927158119" sldId="868"/>
        </pc:sldMkLst>
      </pc:sldChg>
      <pc:sldChg chg="new ord modNotes">
        <pc:chgData name="Eileen Fleming Suse" userId="S::efs3844@ads.northwestern.edu::725c94ef-d051-42d7-9d33-8572765d592b" providerId="AD" clId="Web-{914821D3-673D-1A0A-C8D5-10CEE0E01D56}" dt="2024-02-16T19:32:46.097" v="18"/>
        <pc:sldMkLst>
          <pc:docMk/>
          <pc:sldMk cId="1391034132" sldId="886"/>
        </pc:sldMkLst>
      </pc:sldChg>
      <pc:sldChg chg="modSp new ord modNotes">
        <pc:chgData name="Eileen Fleming Suse" userId="S::efs3844@ads.northwestern.edu::725c94ef-d051-42d7-9d33-8572765d592b" providerId="AD" clId="Web-{914821D3-673D-1A0A-C8D5-10CEE0E01D56}" dt="2024-02-16T19:34:19.161" v="31" actId="20577"/>
        <pc:sldMkLst>
          <pc:docMk/>
          <pc:sldMk cId="3868503959" sldId="887"/>
        </pc:sldMkLst>
        <pc:spChg chg="mod">
          <ac:chgData name="Eileen Fleming Suse" userId="S::efs3844@ads.northwestern.edu::725c94ef-d051-42d7-9d33-8572765d592b" providerId="AD" clId="Web-{914821D3-673D-1A0A-C8D5-10CEE0E01D56}" dt="2024-02-16T19:34:19.161" v="31" actId="20577"/>
          <ac:spMkLst>
            <pc:docMk/>
            <pc:sldMk cId="3868503959" sldId="887"/>
            <ac:spMk id="3" creationId="{50AA21FC-907F-ADB5-D333-464CC1B68C46}"/>
          </ac:spMkLst>
        </pc:spChg>
      </pc:sldChg>
      <pc:sldChg chg="add">
        <pc:chgData name="Eileen Fleming Suse" userId="S::efs3844@ads.northwestern.edu::725c94ef-d051-42d7-9d33-8572765d592b" providerId="AD" clId="Web-{914821D3-673D-1A0A-C8D5-10CEE0E01D56}" dt="2024-02-16T19:33:48.614" v="20"/>
        <pc:sldMkLst>
          <pc:docMk/>
          <pc:sldMk cId="2806931985" sldId="888"/>
        </pc:sldMkLst>
      </pc:sldChg>
      <pc:sldChg chg="new">
        <pc:chgData name="Eileen Fleming Suse" userId="S::efs3844@ads.northwestern.edu::725c94ef-d051-42d7-9d33-8572765d592b" providerId="AD" clId="Web-{914821D3-673D-1A0A-C8D5-10CEE0E01D56}" dt="2024-02-16T19:34:24.865" v="32"/>
        <pc:sldMkLst>
          <pc:docMk/>
          <pc:sldMk cId="1128616829" sldId="889"/>
        </pc:sldMkLst>
      </pc:sldChg>
      <pc:sldChg chg="add">
        <pc:chgData name="Eileen Fleming Suse" userId="S::efs3844@ads.northwestern.edu::725c94ef-d051-42d7-9d33-8572765d592b" providerId="AD" clId="Web-{914821D3-673D-1A0A-C8D5-10CEE0E01D56}" dt="2024-02-16T19:34:50.553" v="33"/>
        <pc:sldMkLst>
          <pc:docMk/>
          <pc:sldMk cId="907610433" sldId="890"/>
        </pc:sldMkLst>
      </pc:sldChg>
      <pc:sldChg chg="new modNotes">
        <pc:chgData name="Eileen Fleming Suse" userId="S::efs3844@ads.northwestern.edu::725c94ef-d051-42d7-9d33-8572765d592b" providerId="AD" clId="Web-{914821D3-673D-1A0A-C8D5-10CEE0E01D56}" dt="2024-02-16T20:03:30.807" v="406"/>
        <pc:sldMkLst>
          <pc:docMk/>
          <pc:sldMk cId="2146925144" sldId="891"/>
        </pc:sldMkLst>
      </pc:sldChg>
    </pc:docChg>
  </pc:docChgLst>
  <pc:docChgLst>
    <pc:chgData name="Kiela Karina Moreno" userId="S::mpg7143@ads.northwestern.edu::1e897b35-0dd4-497a-9ab7-7a37e6c39d5b" providerId="AD" clId="Web-{647E05CA-75B4-FC29-B08E-D18DCDFA9651}"/>
    <pc:docChg chg="modSld">
      <pc:chgData name="Kiela Karina Moreno" userId="S::mpg7143@ads.northwestern.edu::1e897b35-0dd4-497a-9ab7-7a37e6c39d5b" providerId="AD" clId="Web-{647E05CA-75B4-FC29-B08E-D18DCDFA9651}" dt="2024-02-03T03:22:23.054" v="96" actId="20577"/>
      <pc:docMkLst>
        <pc:docMk/>
      </pc:docMkLst>
      <pc:sldChg chg="modSp">
        <pc:chgData name="Kiela Karina Moreno" userId="S::mpg7143@ads.northwestern.edu::1e897b35-0dd4-497a-9ab7-7a37e6c39d5b" providerId="AD" clId="Web-{647E05CA-75B4-FC29-B08E-D18DCDFA9651}" dt="2024-02-03T03:21:07.768" v="93" actId="1076"/>
        <pc:sldMkLst>
          <pc:docMk/>
          <pc:sldMk cId="2665110015" sldId="857"/>
        </pc:sldMkLst>
        <pc:spChg chg="mod">
          <ac:chgData name="Kiela Karina Moreno" userId="S::mpg7143@ads.northwestern.edu::1e897b35-0dd4-497a-9ab7-7a37e6c39d5b" providerId="AD" clId="Web-{647E05CA-75B4-FC29-B08E-D18DCDFA9651}" dt="2024-02-03T03:21:07.768" v="93" actId="1076"/>
          <ac:spMkLst>
            <pc:docMk/>
            <pc:sldMk cId="2665110015" sldId="857"/>
            <ac:spMk id="3" creationId="{F8846CBE-83EF-4010-D9EA-14AA5B3CB2A0}"/>
          </ac:spMkLst>
        </pc:spChg>
      </pc:sldChg>
      <pc:sldChg chg="modSp">
        <pc:chgData name="Kiela Karina Moreno" userId="S::mpg7143@ads.northwestern.edu::1e897b35-0dd4-497a-9ab7-7a37e6c39d5b" providerId="AD" clId="Web-{647E05CA-75B4-FC29-B08E-D18DCDFA9651}" dt="2024-02-03T03:22:23.054" v="96" actId="20577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647E05CA-75B4-FC29-B08E-D18DCDFA9651}" dt="2024-02-03T03:22:23.054" v="96" actId="20577"/>
          <ac:spMkLst>
            <pc:docMk/>
            <pc:sldMk cId="1914631794" sldId="866"/>
            <ac:spMk id="7" creationId="{A613F0CA-0B42-2365-025C-A56F8FFC9B87}"/>
          </ac:spMkLst>
        </pc:spChg>
      </pc:sldChg>
      <pc:sldChg chg="addSp delSp modSp mod setBg">
        <pc:chgData name="Kiela Karina Moreno" userId="S::mpg7143@ads.northwestern.edu::1e897b35-0dd4-497a-9ab7-7a37e6c39d5b" providerId="AD" clId="Web-{647E05CA-75B4-FC29-B08E-D18DCDFA9651}" dt="2024-02-03T03:20:51.674" v="91" actId="20577"/>
        <pc:sldMkLst>
          <pc:docMk/>
          <pc:sldMk cId="927158119" sldId="868"/>
        </pc:sldMkLst>
        <pc:spChg chg="mod">
          <ac:chgData name="Kiela Karina Moreno" userId="S::mpg7143@ads.northwestern.edu::1e897b35-0dd4-497a-9ab7-7a37e6c39d5b" providerId="AD" clId="Web-{647E05CA-75B4-FC29-B08E-D18DCDFA9651}" dt="2024-02-03T03:19:02.468" v="56"/>
          <ac:spMkLst>
            <pc:docMk/>
            <pc:sldMk cId="927158119" sldId="868"/>
            <ac:spMk id="2" creationId="{740580F6-8254-3A9A-13D0-E1CFC13D6836}"/>
          </ac:spMkLst>
        </pc:spChg>
        <pc:spChg chg="mod ord">
          <ac:chgData name="Kiela Karina Moreno" userId="S::mpg7143@ads.northwestern.edu::1e897b35-0dd4-497a-9ab7-7a37e6c39d5b" providerId="AD" clId="Web-{647E05CA-75B4-FC29-B08E-D18DCDFA9651}" dt="2024-02-03T03:19:02.468" v="56"/>
          <ac:spMkLst>
            <pc:docMk/>
            <pc:sldMk cId="927158119" sldId="868"/>
            <ac:spMk id="4" creationId="{68271F26-733D-C0DE-C532-93573E9AF3BB}"/>
          </ac:spMkLst>
        </pc:spChg>
        <pc:spChg chg="del">
          <ac:chgData name="Kiela Karina Moreno" userId="S::mpg7143@ads.northwestern.edu::1e897b35-0dd4-497a-9ab7-7a37e6c39d5b" providerId="AD" clId="Web-{647E05CA-75B4-FC29-B08E-D18DCDFA9651}" dt="2024-02-03T03:16:26.667" v="0"/>
          <ac:spMkLst>
            <pc:docMk/>
            <pc:sldMk cId="927158119" sldId="868"/>
            <ac:spMk id="6" creationId="{0D0C00E8-6AF6-0756-586F-9CB3BA9298EE}"/>
          </ac:spMkLst>
        </pc:spChg>
        <pc:spChg chg="mod ord">
          <ac:chgData name="Kiela Karina Moreno" userId="S::mpg7143@ads.northwestern.edu::1e897b35-0dd4-497a-9ab7-7a37e6c39d5b" providerId="AD" clId="Web-{647E05CA-75B4-FC29-B08E-D18DCDFA9651}" dt="2024-02-03T03:19:02.468" v="56"/>
          <ac:spMkLst>
            <pc:docMk/>
            <pc:sldMk cId="927158119" sldId="868"/>
            <ac:spMk id="7" creationId="{BF44033D-ACF7-8562-F830-AB48D630D668}"/>
          </ac:spMkLst>
        </pc:spChg>
        <pc:spChg chg="add del mod">
          <ac:chgData name="Kiela Karina Moreno" userId="S::mpg7143@ads.northwestern.edu::1e897b35-0dd4-497a-9ab7-7a37e6c39d5b" providerId="AD" clId="Web-{647E05CA-75B4-FC29-B08E-D18DCDFA9651}" dt="2024-02-03T03:16:42.745" v="2"/>
          <ac:spMkLst>
            <pc:docMk/>
            <pc:sldMk cId="927158119" sldId="868"/>
            <ac:spMk id="8" creationId="{92D500B0-854E-C36F-3685-37D0045FB46B}"/>
          </ac:spMkLst>
        </pc:spChg>
        <pc:spChg chg="add mod">
          <ac:chgData name="Kiela Karina Moreno" userId="S::mpg7143@ads.northwestern.edu::1e897b35-0dd4-497a-9ab7-7a37e6c39d5b" providerId="AD" clId="Web-{647E05CA-75B4-FC29-B08E-D18DCDFA9651}" dt="2024-02-03T03:20:51.674" v="91" actId="20577"/>
          <ac:spMkLst>
            <pc:docMk/>
            <pc:sldMk cId="927158119" sldId="868"/>
            <ac:spMk id="11" creationId="{9F9FF554-DE24-E3F9-4A31-4BD1A14B5871}"/>
          </ac:spMkLst>
        </pc:spChg>
        <pc:spChg chg="add">
          <ac:chgData name="Kiela Karina Moreno" userId="S::mpg7143@ads.northwestern.edu::1e897b35-0dd4-497a-9ab7-7a37e6c39d5b" providerId="AD" clId="Web-{647E05CA-75B4-FC29-B08E-D18DCDFA9651}" dt="2024-02-03T03:19:02.468" v="56"/>
          <ac:spMkLst>
            <pc:docMk/>
            <pc:sldMk cId="927158119" sldId="868"/>
            <ac:spMk id="18" creationId="{5AC1364A-3E3D-4F0D-8776-78AF3A270DD6}"/>
          </ac:spMkLst>
        </pc:spChg>
        <pc:spChg chg="add">
          <ac:chgData name="Kiela Karina Moreno" userId="S::mpg7143@ads.northwestern.edu::1e897b35-0dd4-497a-9ab7-7a37e6c39d5b" providerId="AD" clId="Web-{647E05CA-75B4-FC29-B08E-D18DCDFA9651}" dt="2024-02-03T03:19:02.468" v="56"/>
          <ac:spMkLst>
            <pc:docMk/>
            <pc:sldMk cId="927158119" sldId="868"/>
            <ac:spMk id="20" creationId="{3FCFB1DE-0B7E-48CC-BA90-B2AB0889F9D6}"/>
          </ac:spMkLst>
        </pc:spChg>
        <pc:picChg chg="add del mod ord">
          <ac:chgData name="Kiela Karina Moreno" userId="S::mpg7143@ads.northwestern.edu::1e897b35-0dd4-497a-9ab7-7a37e6c39d5b" providerId="AD" clId="Web-{647E05CA-75B4-FC29-B08E-D18DCDFA9651}" dt="2024-02-03T03:16:34.636" v="1"/>
          <ac:picMkLst>
            <pc:docMk/>
            <pc:sldMk cId="927158119" sldId="868"/>
            <ac:picMk id="3" creationId="{271D3BF1-9687-0B0D-2181-457FCC12A0F3}"/>
          </ac:picMkLst>
        </pc:picChg>
        <pc:picChg chg="add mod ord">
          <ac:chgData name="Kiela Karina Moreno" userId="S::mpg7143@ads.northwestern.edu::1e897b35-0dd4-497a-9ab7-7a37e6c39d5b" providerId="AD" clId="Web-{647E05CA-75B4-FC29-B08E-D18DCDFA9651}" dt="2024-02-03T03:19:10.468" v="57" actId="1076"/>
          <ac:picMkLst>
            <pc:docMk/>
            <pc:sldMk cId="927158119" sldId="868"/>
            <ac:picMk id="9" creationId="{72874926-BC85-B71F-75BA-248AA4B55151}"/>
          </ac:picMkLst>
        </pc:picChg>
        <pc:picChg chg="add mod ord">
          <ac:chgData name="Kiela Karina Moreno" userId="S::mpg7143@ads.northwestern.edu::1e897b35-0dd4-497a-9ab7-7a37e6c39d5b" providerId="AD" clId="Web-{647E05CA-75B4-FC29-B08E-D18DCDFA9651}" dt="2024-02-03T03:19:02.468" v="56"/>
          <ac:picMkLst>
            <pc:docMk/>
            <pc:sldMk cId="927158119" sldId="868"/>
            <ac:picMk id="13" creationId="{22D2EA1F-9C0D-C8AA-9BF8-A939CB5BD27C}"/>
          </ac:picMkLst>
        </pc:picChg>
      </pc:sldChg>
    </pc:docChg>
  </pc:docChgLst>
  <pc:docChgLst>
    <pc:chgData name="Kiela Karina Moreno" userId="S::mpg7143@ads.northwestern.edu::1e897b35-0dd4-497a-9ab7-7a37e6c39d5b" providerId="AD" clId="Web-{AC3D0699-0717-22AA-75B0-2E3766A51918}"/>
    <pc:docChg chg="">
      <pc:chgData name="Kiela Karina Moreno" userId="S::mpg7143@ads.northwestern.edu::1e897b35-0dd4-497a-9ab7-7a37e6c39d5b" providerId="AD" clId="Web-{AC3D0699-0717-22AA-75B0-2E3766A51918}" dt="2024-02-18T01:43:47.180" v="0"/>
      <pc:docMkLst>
        <pc:docMk/>
      </pc:docMkLst>
      <pc:sldChg chg="modCm">
        <pc:chgData name="Kiela Karina Moreno" userId="S::mpg7143@ads.northwestern.edu::1e897b35-0dd4-497a-9ab7-7a37e6c39d5b" providerId="AD" clId="Web-{AC3D0699-0717-22AA-75B0-2E3766A51918}" dt="2024-02-18T01:43:47.180" v="0"/>
        <pc:sldMkLst>
          <pc:docMk/>
          <pc:sldMk cId="2762163785" sldId="87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iela Karina Moreno" userId="S::mpg7143@ads.northwestern.edu::1e897b35-0dd4-497a-9ab7-7a37e6c39d5b" providerId="AD" clId="Web-{AC3D0699-0717-22AA-75B0-2E3766A51918}" dt="2024-02-18T01:43:47.180" v="0"/>
              <pc2:cmMkLst xmlns:pc2="http://schemas.microsoft.com/office/powerpoint/2019/9/main/command">
                <pc:docMk/>
                <pc:sldMk cId="2762163785" sldId="871"/>
                <pc2:cmMk id="{85F21DAC-FF06-48D7-8B0B-C8A5023DD6B3}"/>
              </pc2:cmMkLst>
            </pc226:cmChg>
          </p:ext>
        </pc:extLst>
      </pc:sldChg>
    </pc:docChg>
  </pc:docChgLst>
  <pc:docChgLst>
    <pc:chgData name="Kiela Karina Moreno" userId="S::mpg7143@ads.northwestern.edu::1e897b35-0dd4-497a-9ab7-7a37e6c39d5b" providerId="AD" clId="Web-{A3834981-4FEE-D104-FE72-0C86674E991F}"/>
    <pc:docChg chg="modSld">
      <pc:chgData name="Kiela Karina Moreno" userId="S::mpg7143@ads.northwestern.edu::1e897b35-0dd4-497a-9ab7-7a37e6c39d5b" providerId="AD" clId="Web-{A3834981-4FEE-D104-FE72-0C86674E991F}" dt="2024-02-07T20:38:56.530" v="83" actId="20577"/>
      <pc:docMkLst>
        <pc:docMk/>
      </pc:docMkLst>
      <pc:sldChg chg="addSp modSp">
        <pc:chgData name="Kiela Karina Moreno" userId="S::mpg7143@ads.northwestern.edu::1e897b35-0dd4-497a-9ab7-7a37e6c39d5b" providerId="AD" clId="Web-{A3834981-4FEE-D104-FE72-0C86674E991F}" dt="2024-02-07T19:58:07.451" v="11" actId="1076"/>
        <pc:sldMkLst>
          <pc:docMk/>
          <pc:sldMk cId="3127921386" sldId="280"/>
        </pc:sldMkLst>
        <pc:picChg chg="add mod">
          <ac:chgData name="Kiela Karina Moreno" userId="S::mpg7143@ads.northwestern.edu::1e897b35-0dd4-497a-9ab7-7a37e6c39d5b" providerId="AD" clId="Web-{A3834981-4FEE-D104-FE72-0C86674E991F}" dt="2024-02-07T19:58:07.451" v="11" actId="1076"/>
          <ac:picMkLst>
            <pc:docMk/>
            <pc:sldMk cId="3127921386" sldId="280"/>
            <ac:picMk id="8" creationId="{6FB1D555-045A-62E4-5B91-1CF4B21CA145}"/>
          </ac:picMkLst>
        </pc:picChg>
      </pc:sldChg>
      <pc:sldChg chg="addSp modSp">
        <pc:chgData name="Kiela Karina Moreno" userId="S::mpg7143@ads.northwestern.edu::1e897b35-0dd4-497a-9ab7-7a37e6c39d5b" providerId="AD" clId="Web-{A3834981-4FEE-D104-FE72-0C86674E991F}" dt="2024-02-07T19:57:13.607" v="7"/>
        <pc:sldMkLst>
          <pc:docMk/>
          <pc:sldMk cId="4044691067" sldId="283"/>
        </pc:sldMkLst>
        <pc:picChg chg="add mod ord">
          <ac:chgData name="Kiela Karina Moreno" userId="S::mpg7143@ads.northwestern.edu::1e897b35-0dd4-497a-9ab7-7a37e6c39d5b" providerId="AD" clId="Web-{A3834981-4FEE-D104-FE72-0C86674E991F}" dt="2024-02-07T19:57:13.607" v="7"/>
          <ac:picMkLst>
            <pc:docMk/>
            <pc:sldMk cId="4044691067" sldId="283"/>
            <ac:picMk id="3" creationId="{67CCC365-22DB-D748-55BC-F2D4D24F121F}"/>
          </ac:picMkLst>
        </pc:picChg>
      </pc:sldChg>
      <pc:sldChg chg="addSp modSp">
        <pc:chgData name="Kiela Karina Moreno" userId="S::mpg7143@ads.northwestern.edu::1e897b35-0dd4-497a-9ab7-7a37e6c39d5b" providerId="AD" clId="Web-{A3834981-4FEE-D104-FE72-0C86674E991F}" dt="2024-02-07T20:38:11.685" v="71"/>
        <pc:sldMkLst>
          <pc:docMk/>
          <pc:sldMk cId="1234199256" sldId="289"/>
        </pc:sldMkLst>
        <pc:spChg chg="mod">
          <ac:chgData name="Kiela Karina Moreno" userId="S::mpg7143@ads.northwestern.edu::1e897b35-0dd4-497a-9ab7-7a37e6c39d5b" providerId="AD" clId="Web-{A3834981-4FEE-D104-FE72-0C86674E991F}" dt="2024-02-07T20:38:11.685" v="71"/>
          <ac:spMkLst>
            <pc:docMk/>
            <pc:sldMk cId="1234199256" sldId="289"/>
            <ac:spMk id="2" creationId="{4750E6DC-BCB6-7021-74E4-A553695C7B5E}"/>
          </ac:spMkLst>
        </pc:spChg>
        <pc:picChg chg="add mod ord">
          <ac:chgData name="Kiela Karina Moreno" userId="S::mpg7143@ads.northwestern.edu::1e897b35-0dd4-497a-9ab7-7a37e6c39d5b" providerId="AD" clId="Web-{A3834981-4FEE-D104-FE72-0C86674E991F}" dt="2024-02-07T20:25:10.946" v="17"/>
          <ac:picMkLst>
            <pc:docMk/>
            <pc:sldMk cId="1234199256" sldId="289"/>
            <ac:picMk id="38" creationId="{F6409141-6B42-0ADB-02E9-FA1BFE586D76}"/>
          </ac:picMkLst>
        </pc:picChg>
        <pc:picChg chg="add mod">
          <ac:chgData name="Kiela Karina Moreno" userId="S::mpg7143@ads.northwestern.edu::1e897b35-0dd4-497a-9ab7-7a37e6c39d5b" providerId="AD" clId="Web-{A3834981-4FEE-D104-FE72-0C86674E991F}" dt="2024-02-07T20:25:02.477" v="15" actId="1076"/>
          <ac:picMkLst>
            <pc:docMk/>
            <pc:sldMk cId="1234199256" sldId="289"/>
            <ac:picMk id="55" creationId="{E1D4A2D0-0D74-12FA-D0FD-C5F6DA2033B4}"/>
          </ac:picMkLst>
        </pc:picChg>
      </pc:sldChg>
      <pc:sldChg chg="delSp modSp">
        <pc:chgData name="Kiela Karina Moreno" userId="S::mpg7143@ads.northwestern.edu::1e897b35-0dd4-497a-9ab7-7a37e6c39d5b" providerId="AD" clId="Web-{A3834981-4FEE-D104-FE72-0C86674E991F}" dt="2024-02-07T20:27:44.481" v="25" actId="1076"/>
        <pc:sldMkLst>
          <pc:docMk/>
          <pc:sldMk cId="1141813547" sldId="737"/>
        </pc:sldMkLst>
        <pc:spChg chg="mod">
          <ac:chgData name="Kiela Karina Moreno" userId="S::mpg7143@ads.northwestern.edu::1e897b35-0dd4-497a-9ab7-7a37e6c39d5b" providerId="AD" clId="Web-{A3834981-4FEE-D104-FE72-0C86674E991F}" dt="2024-02-07T20:26:56.198" v="22" actId="1076"/>
          <ac:spMkLst>
            <pc:docMk/>
            <pc:sldMk cId="1141813547" sldId="737"/>
            <ac:spMk id="12" creationId="{00000000-0000-0000-0000-000000000000}"/>
          </ac:spMkLst>
        </pc:spChg>
        <pc:spChg chg="del mod">
          <ac:chgData name="Kiela Karina Moreno" userId="S::mpg7143@ads.northwestern.edu::1e897b35-0dd4-497a-9ab7-7a37e6c39d5b" providerId="AD" clId="Web-{A3834981-4FEE-D104-FE72-0C86674E991F}" dt="2024-02-07T20:27:15.418" v="24"/>
          <ac:spMkLst>
            <pc:docMk/>
            <pc:sldMk cId="1141813547" sldId="737"/>
            <ac:spMk id="22" creationId="{2374BCB8-9FFF-63F2-561A-5CC7F70FBD99}"/>
          </ac:spMkLst>
        </pc:spChg>
        <pc:picChg chg="mod">
          <ac:chgData name="Kiela Karina Moreno" userId="S::mpg7143@ads.northwestern.edu::1e897b35-0dd4-497a-9ab7-7a37e6c39d5b" providerId="AD" clId="Web-{A3834981-4FEE-D104-FE72-0C86674E991F}" dt="2024-02-07T20:27:44.481" v="25" actId="1076"/>
          <ac:picMkLst>
            <pc:docMk/>
            <pc:sldMk cId="1141813547" sldId="737"/>
            <ac:picMk id="30" creationId="{D4E3D497-12D9-1528-0291-A8E833B57B5D}"/>
          </ac:picMkLst>
        </pc:picChg>
      </pc:sldChg>
      <pc:sldChg chg="modSp">
        <pc:chgData name="Kiela Karina Moreno" userId="S::mpg7143@ads.northwestern.edu::1e897b35-0dd4-497a-9ab7-7a37e6c39d5b" providerId="AD" clId="Web-{A3834981-4FEE-D104-FE72-0C86674E991F}" dt="2024-02-07T20:31:14.736" v="50" actId="14100"/>
        <pc:sldMkLst>
          <pc:docMk/>
          <pc:sldMk cId="4099246298" sldId="830"/>
        </pc:sldMkLst>
        <pc:spChg chg="mod">
          <ac:chgData name="Kiela Karina Moreno" userId="S::mpg7143@ads.northwestern.edu::1e897b35-0dd4-497a-9ab7-7a37e6c39d5b" providerId="AD" clId="Web-{A3834981-4FEE-D104-FE72-0C86674E991F}" dt="2024-02-07T20:30:48.220" v="48" actId="1076"/>
          <ac:spMkLst>
            <pc:docMk/>
            <pc:sldMk cId="4099246298" sldId="830"/>
            <ac:spMk id="3" creationId="{CF9BF4C4-C441-4125-0D36-AFACCDDD6450}"/>
          </ac:spMkLst>
        </pc:spChg>
        <pc:spChg chg="mod">
          <ac:chgData name="Kiela Karina Moreno" userId="S::mpg7143@ads.northwestern.edu::1e897b35-0dd4-497a-9ab7-7a37e6c39d5b" providerId="AD" clId="Web-{A3834981-4FEE-D104-FE72-0C86674E991F}" dt="2024-02-07T20:30:37.673" v="45" actId="14100"/>
          <ac:spMkLst>
            <pc:docMk/>
            <pc:sldMk cId="4099246298" sldId="830"/>
            <ac:spMk id="5" creationId="{31723F5D-D907-C425-FB25-443C9127F8D2}"/>
          </ac:spMkLst>
        </pc:spChg>
        <pc:spChg chg="mod">
          <ac:chgData name="Kiela Karina Moreno" userId="S::mpg7143@ads.northwestern.edu::1e897b35-0dd4-497a-9ab7-7a37e6c39d5b" providerId="AD" clId="Web-{A3834981-4FEE-D104-FE72-0C86674E991F}" dt="2024-02-07T20:31:14.736" v="50" actId="14100"/>
          <ac:spMkLst>
            <pc:docMk/>
            <pc:sldMk cId="4099246298" sldId="830"/>
            <ac:spMk id="7" creationId="{5C4018D8-81AF-36D5-48D9-B4ABF5C0928D}"/>
          </ac:spMkLst>
        </pc:spChg>
        <pc:spChg chg="mod">
          <ac:chgData name="Kiela Karina Moreno" userId="S::mpg7143@ads.northwestern.edu::1e897b35-0dd4-497a-9ab7-7a37e6c39d5b" providerId="AD" clId="Web-{A3834981-4FEE-D104-FE72-0C86674E991F}" dt="2024-02-07T20:30:42.017" v="46" actId="14100"/>
          <ac:spMkLst>
            <pc:docMk/>
            <pc:sldMk cId="4099246298" sldId="830"/>
            <ac:spMk id="9" creationId="{A38494CB-EE44-FBDA-67F8-A56AE6807060}"/>
          </ac:spMkLst>
        </pc:spChg>
        <pc:spChg chg="mod">
          <ac:chgData name="Kiela Karina Moreno" userId="S::mpg7143@ads.northwestern.edu::1e897b35-0dd4-497a-9ab7-7a37e6c39d5b" providerId="AD" clId="Web-{A3834981-4FEE-D104-FE72-0C86674E991F}" dt="2024-02-07T20:30:44.048" v="47" actId="14100"/>
          <ac:spMkLst>
            <pc:docMk/>
            <pc:sldMk cId="4099246298" sldId="830"/>
            <ac:spMk id="10" creationId="{47D75B78-31BC-388D-A44C-F2D944EF934E}"/>
          </ac:spMkLst>
        </pc:spChg>
      </pc:sldChg>
      <pc:sldChg chg="modSp">
        <pc:chgData name="Kiela Karina Moreno" userId="S::mpg7143@ads.northwestern.edu::1e897b35-0dd4-497a-9ab7-7a37e6c39d5b" providerId="AD" clId="Web-{A3834981-4FEE-D104-FE72-0C86674E991F}" dt="2024-02-07T20:36:39.854" v="61"/>
        <pc:sldMkLst>
          <pc:docMk/>
          <pc:sldMk cId="1383153618" sldId="832"/>
        </pc:sldMkLst>
        <pc:picChg chg="mod ord">
          <ac:chgData name="Kiela Karina Moreno" userId="S::mpg7143@ads.northwestern.edu::1e897b35-0dd4-497a-9ab7-7a37e6c39d5b" providerId="AD" clId="Web-{A3834981-4FEE-D104-FE72-0C86674E991F}" dt="2024-02-07T20:36:39.854" v="61"/>
          <ac:picMkLst>
            <pc:docMk/>
            <pc:sldMk cId="1383153618" sldId="832"/>
            <ac:picMk id="9" creationId="{9EA02C1C-27BB-D0B9-13FF-7769D90AD04A}"/>
          </ac:picMkLst>
        </pc:picChg>
      </pc:sldChg>
      <pc:sldChg chg="modSp">
        <pc:chgData name="Kiela Karina Moreno" userId="S::mpg7143@ads.northwestern.edu::1e897b35-0dd4-497a-9ab7-7a37e6c39d5b" providerId="AD" clId="Web-{A3834981-4FEE-D104-FE72-0C86674E991F}" dt="2024-02-07T20:38:37.529" v="76"/>
        <pc:sldMkLst>
          <pc:docMk/>
          <pc:sldMk cId="1690262315" sldId="835"/>
        </pc:sldMkLst>
        <pc:spChg chg="mod">
          <ac:chgData name="Kiela Karina Moreno" userId="S::mpg7143@ads.northwestern.edu::1e897b35-0dd4-497a-9ab7-7a37e6c39d5b" providerId="AD" clId="Web-{A3834981-4FEE-D104-FE72-0C86674E991F}" dt="2024-02-07T20:38:28.279" v="74" actId="1076"/>
          <ac:spMkLst>
            <pc:docMk/>
            <pc:sldMk cId="1690262315" sldId="835"/>
            <ac:spMk id="15" creationId="{72552A16-8979-8328-044D-EB965134F322}"/>
          </ac:spMkLst>
        </pc:spChg>
        <pc:spChg chg="mod">
          <ac:chgData name="Kiela Karina Moreno" userId="S::mpg7143@ads.northwestern.edu::1e897b35-0dd4-497a-9ab7-7a37e6c39d5b" providerId="AD" clId="Web-{A3834981-4FEE-D104-FE72-0C86674E991F}" dt="2024-02-07T20:38:37.529" v="76"/>
          <ac:spMkLst>
            <pc:docMk/>
            <pc:sldMk cId="1690262315" sldId="835"/>
            <ac:spMk id="20" creationId="{3FF70AE4-9AF0-75FE-8520-8A3427521F2B}"/>
          </ac:spMkLst>
        </pc:spChg>
        <pc:spChg chg="mod">
          <ac:chgData name="Kiela Karina Moreno" userId="S::mpg7143@ads.northwestern.edu::1e897b35-0dd4-497a-9ab7-7a37e6c39d5b" providerId="AD" clId="Web-{A3834981-4FEE-D104-FE72-0C86674E991F}" dt="2024-02-07T20:38:33.420" v="75"/>
          <ac:spMkLst>
            <pc:docMk/>
            <pc:sldMk cId="1690262315" sldId="835"/>
            <ac:spMk id="22" creationId="{8ABA3E72-0F12-C088-6AD1-F2AC98F861D2}"/>
          </ac:spMkLst>
        </pc:spChg>
      </pc:sldChg>
      <pc:sldChg chg="modSp">
        <pc:chgData name="Kiela Karina Moreno" userId="S::mpg7143@ads.northwestern.edu::1e897b35-0dd4-497a-9ab7-7a37e6c39d5b" providerId="AD" clId="Web-{A3834981-4FEE-D104-FE72-0C86674E991F}" dt="2024-02-07T20:38:56.530" v="83" actId="20577"/>
        <pc:sldMkLst>
          <pc:docMk/>
          <pc:sldMk cId="1310655723" sldId="836"/>
        </pc:sldMkLst>
        <pc:spChg chg="mod">
          <ac:chgData name="Kiela Karina Moreno" userId="S::mpg7143@ads.northwestern.edu::1e897b35-0dd4-497a-9ab7-7a37e6c39d5b" providerId="AD" clId="Web-{A3834981-4FEE-D104-FE72-0C86674E991F}" dt="2024-02-07T20:38:56.530" v="83" actId="20577"/>
          <ac:spMkLst>
            <pc:docMk/>
            <pc:sldMk cId="1310655723" sldId="836"/>
            <ac:spMk id="8" creationId="{00000000-0000-0000-0000-000000000000}"/>
          </ac:spMkLst>
        </pc:spChg>
      </pc:sldChg>
      <pc:sldChg chg="modSp">
        <pc:chgData name="Kiela Karina Moreno" userId="S::mpg7143@ads.northwestern.edu::1e897b35-0dd4-497a-9ab7-7a37e6c39d5b" providerId="AD" clId="Web-{A3834981-4FEE-D104-FE72-0C86674E991F}" dt="2024-02-07T20:37:58.466" v="69"/>
        <pc:sldMkLst>
          <pc:docMk/>
          <pc:sldMk cId="3117634655" sldId="845"/>
        </pc:sldMkLst>
        <pc:spChg chg="mod">
          <ac:chgData name="Kiela Karina Moreno" userId="S::mpg7143@ads.northwestern.edu::1e897b35-0dd4-497a-9ab7-7a37e6c39d5b" providerId="AD" clId="Web-{A3834981-4FEE-D104-FE72-0C86674E991F}" dt="2024-02-07T20:37:58.466" v="69"/>
          <ac:spMkLst>
            <pc:docMk/>
            <pc:sldMk cId="3117634655" sldId="845"/>
            <ac:spMk id="2" creationId="{875610D5-0922-E3FB-2E32-5E2628A0D3BB}"/>
          </ac:spMkLst>
        </pc:spChg>
        <pc:graphicFrameChg chg="mod modGraphic">
          <ac:chgData name="Kiela Karina Moreno" userId="S::mpg7143@ads.northwestern.edu::1e897b35-0dd4-497a-9ab7-7a37e6c39d5b" providerId="AD" clId="Web-{A3834981-4FEE-D104-FE72-0C86674E991F}" dt="2024-02-07T20:37:53.606" v="68"/>
          <ac:graphicFrameMkLst>
            <pc:docMk/>
            <pc:sldMk cId="3117634655" sldId="845"/>
            <ac:graphicFrameMk id="6" creationId="{3349F207-60F4-234D-4729-00A6824BBB25}"/>
          </ac:graphicFrameMkLst>
        </pc:graphicFrameChg>
      </pc:sldChg>
      <pc:sldChg chg="addSp delSp modSp">
        <pc:chgData name="Kiela Karina Moreno" userId="S::mpg7143@ads.northwestern.edu::1e897b35-0dd4-497a-9ab7-7a37e6c39d5b" providerId="AD" clId="Web-{A3834981-4FEE-D104-FE72-0C86674E991F}" dt="2024-02-07T20:38:04.810" v="70"/>
        <pc:sldMkLst>
          <pc:docMk/>
          <pc:sldMk cId="1663322964" sldId="846"/>
        </pc:sldMkLst>
        <pc:spChg chg="mod">
          <ac:chgData name="Kiela Karina Moreno" userId="S::mpg7143@ads.northwestern.edu::1e897b35-0dd4-497a-9ab7-7a37e6c39d5b" providerId="AD" clId="Web-{A3834981-4FEE-D104-FE72-0C86674E991F}" dt="2024-02-07T20:38:04.810" v="70"/>
          <ac:spMkLst>
            <pc:docMk/>
            <pc:sldMk cId="1663322964" sldId="846"/>
            <ac:spMk id="2" creationId="{00000000-0000-0000-0000-000000000000}"/>
          </ac:spMkLst>
        </pc:spChg>
        <pc:spChg chg="mod ord">
          <ac:chgData name="Kiela Karina Moreno" userId="S::mpg7143@ads.northwestern.edu::1e897b35-0dd4-497a-9ab7-7a37e6c39d5b" providerId="AD" clId="Web-{A3834981-4FEE-D104-FE72-0C86674E991F}" dt="2024-02-07T20:25:39.009" v="21"/>
          <ac:spMkLst>
            <pc:docMk/>
            <pc:sldMk cId="1663322964" sldId="846"/>
            <ac:spMk id="4" creationId="{00000000-0000-0000-0000-000000000000}"/>
          </ac:spMkLst>
        </pc:spChg>
        <pc:spChg chg="mod ord">
          <ac:chgData name="Kiela Karina Moreno" userId="S::mpg7143@ads.northwestern.edu::1e897b35-0dd4-497a-9ab7-7a37e6c39d5b" providerId="AD" clId="Web-{A3834981-4FEE-D104-FE72-0C86674E991F}" dt="2024-02-07T20:25:39.009" v="21"/>
          <ac:spMkLst>
            <pc:docMk/>
            <pc:sldMk cId="1663322964" sldId="846"/>
            <ac:spMk id="83" creationId="{E8B0A7CF-C775-569B-5D28-11D12EF0B006}"/>
          </ac:spMkLst>
        </pc:spChg>
        <pc:spChg chg="add">
          <ac:chgData name="Kiela Karina Moreno" userId="S::mpg7143@ads.northwestern.edu::1e897b35-0dd4-497a-9ab7-7a37e6c39d5b" providerId="AD" clId="Web-{A3834981-4FEE-D104-FE72-0C86674E991F}" dt="2024-02-07T20:25:39.009" v="21"/>
          <ac:spMkLst>
            <pc:docMk/>
            <pc:sldMk cId="1663322964" sldId="846"/>
            <ac:spMk id="128" creationId="{352BEC0E-22F8-46D0-9632-375DB541B06C}"/>
          </ac:spMkLst>
        </pc:spChg>
        <pc:spChg chg="add">
          <ac:chgData name="Kiela Karina Moreno" userId="S::mpg7143@ads.northwestern.edu::1e897b35-0dd4-497a-9ab7-7a37e6c39d5b" providerId="AD" clId="Web-{A3834981-4FEE-D104-FE72-0C86674E991F}" dt="2024-02-07T20:25:39.009" v="21"/>
          <ac:spMkLst>
            <pc:docMk/>
            <pc:sldMk cId="1663322964" sldId="846"/>
            <ac:spMk id="130" creationId="{3FCFB1DE-0B7E-48CC-BA90-B2AB0889F9D6}"/>
          </ac:spMkLst>
        </pc:spChg>
        <pc:graphicFrameChg chg="del">
          <ac:chgData name="Kiela Karina Moreno" userId="S::mpg7143@ads.northwestern.edu::1e897b35-0dd4-497a-9ab7-7a37e6c39d5b" providerId="AD" clId="Web-{A3834981-4FEE-D104-FE72-0C86674E991F}" dt="2024-02-07T20:25:39.009" v="21"/>
          <ac:graphicFrameMkLst>
            <pc:docMk/>
            <pc:sldMk cId="1663322964" sldId="846"/>
            <ac:graphicFrameMk id="17" creationId="{9B647FFD-DB92-0E72-0606-A89EC41A7F93}"/>
          </ac:graphicFrameMkLst>
        </pc:graphicFrameChg>
        <pc:graphicFrameChg chg="add">
          <ac:chgData name="Kiela Karina Moreno" userId="S::mpg7143@ads.northwestern.edu::1e897b35-0dd4-497a-9ab7-7a37e6c39d5b" providerId="AD" clId="Web-{A3834981-4FEE-D104-FE72-0C86674E991F}" dt="2024-02-07T20:25:39.009" v="21"/>
          <ac:graphicFrameMkLst>
            <pc:docMk/>
            <pc:sldMk cId="1663322964" sldId="846"/>
            <ac:graphicFrameMk id="124" creationId="{3315F4F4-9BD1-4A79-6FB8-D0E10F301094}"/>
          </ac:graphicFrameMkLst>
        </pc:graphicFrameChg>
        <pc:picChg chg="add mod">
          <ac:chgData name="Kiela Karina Moreno" userId="S::mpg7143@ads.northwestern.edu::1e897b35-0dd4-497a-9ab7-7a37e6c39d5b" providerId="AD" clId="Web-{A3834981-4FEE-D104-FE72-0C86674E991F}" dt="2024-02-07T20:25:39.009" v="21"/>
          <ac:picMkLst>
            <pc:docMk/>
            <pc:sldMk cId="1663322964" sldId="846"/>
            <ac:picMk id="81" creationId="{146259C2-1FE7-2072-77C8-A281AF6D9AE9}"/>
          </ac:picMkLst>
        </pc:picChg>
        <pc:picChg chg="mod ord">
          <ac:chgData name="Kiela Karina Moreno" userId="S::mpg7143@ads.northwestern.edu::1e897b35-0dd4-497a-9ab7-7a37e6c39d5b" providerId="AD" clId="Web-{A3834981-4FEE-D104-FE72-0C86674E991F}" dt="2024-02-07T20:25:39.009" v="21"/>
          <ac:picMkLst>
            <pc:docMk/>
            <pc:sldMk cId="1663322964" sldId="846"/>
            <ac:picMk id="122" creationId="{DE6F542F-3C7A-9CB3-2F27-9A55C62DE245}"/>
          </ac:picMkLst>
        </pc:picChg>
      </pc:sldChg>
      <pc:sldChg chg="addSp modSp">
        <pc:chgData name="Kiela Karina Moreno" userId="S::mpg7143@ads.northwestern.edu::1e897b35-0dd4-497a-9ab7-7a37e6c39d5b" providerId="AD" clId="Web-{A3834981-4FEE-D104-FE72-0C86674E991F}" dt="2024-02-07T20:29:34.734" v="31" actId="1076"/>
        <pc:sldMkLst>
          <pc:docMk/>
          <pc:sldMk cId="3358532880" sldId="860"/>
        </pc:sldMkLst>
        <pc:spChg chg="mod">
          <ac:chgData name="Kiela Karina Moreno" userId="S::mpg7143@ads.northwestern.edu::1e897b35-0dd4-497a-9ab7-7a37e6c39d5b" providerId="AD" clId="Web-{A3834981-4FEE-D104-FE72-0C86674E991F}" dt="2024-02-07T19:37:16.911" v="0" actId="1076"/>
          <ac:spMkLst>
            <pc:docMk/>
            <pc:sldMk cId="3358532880" sldId="860"/>
            <ac:spMk id="3" creationId="{915C96FB-CA3E-FB7D-FA87-C8B63F874A7E}"/>
          </ac:spMkLst>
        </pc:spChg>
        <pc:picChg chg="add mod ord">
          <ac:chgData name="Kiela Karina Moreno" userId="S::mpg7143@ads.northwestern.edu::1e897b35-0dd4-497a-9ab7-7a37e6c39d5b" providerId="AD" clId="Web-{A3834981-4FEE-D104-FE72-0C86674E991F}" dt="2024-02-07T20:29:34.734" v="31" actId="1076"/>
          <ac:picMkLst>
            <pc:docMk/>
            <pc:sldMk cId="3358532880" sldId="860"/>
            <ac:picMk id="2" creationId="{E126513D-7058-FD7E-490C-06EFFE78B6E0}"/>
          </ac:picMkLst>
        </pc:picChg>
      </pc:sldChg>
      <pc:sldChg chg="addSp modSp">
        <pc:chgData name="Kiela Karina Moreno" userId="S::mpg7143@ads.northwestern.edu::1e897b35-0dd4-497a-9ab7-7a37e6c39d5b" providerId="AD" clId="Web-{A3834981-4FEE-D104-FE72-0C86674E991F}" dt="2024-02-07T20:30:00.859" v="35"/>
        <pc:sldMkLst>
          <pc:docMk/>
          <pc:sldMk cId="3254557287" sldId="861"/>
        </pc:sldMkLst>
        <pc:picChg chg="add mod ord">
          <ac:chgData name="Kiela Karina Moreno" userId="S::mpg7143@ads.northwestern.edu::1e897b35-0dd4-497a-9ab7-7a37e6c39d5b" providerId="AD" clId="Web-{A3834981-4FEE-D104-FE72-0C86674E991F}" dt="2024-02-07T20:30:00.859" v="35"/>
          <ac:picMkLst>
            <pc:docMk/>
            <pc:sldMk cId="3254557287" sldId="861"/>
            <ac:picMk id="2" creationId="{C3BC3C66-A4E2-A452-93C9-1618D77C7239}"/>
          </ac:picMkLst>
        </pc:picChg>
      </pc:sldChg>
      <pc:sldChg chg="addSp modSp">
        <pc:chgData name="Kiela Karina Moreno" userId="S::mpg7143@ads.northwestern.edu::1e897b35-0dd4-497a-9ab7-7a37e6c39d5b" providerId="AD" clId="Web-{A3834981-4FEE-D104-FE72-0C86674E991F}" dt="2024-02-07T20:30:30.595" v="44" actId="1076"/>
        <pc:sldMkLst>
          <pc:docMk/>
          <pc:sldMk cId="1548499057" sldId="867"/>
        </pc:sldMkLst>
        <pc:picChg chg="add mod ord">
          <ac:chgData name="Kiela Karina Moreno" userId="S::mpg7143@ads.northwestern.edu::1e897b35-0dd4-497a-9ab7-7a37e6c39d5b" providerId="AD" clId="Web-{A3834981-4FEE-D104-FE72-0C86674E991F}" dt="2024-02-07T20:30:16.204" v="38"/>
          <ac:picMkLst>
            <pc:docMk/>
            <pc:sldMk cId="1548499057" sldId="867"/>
            <ac:picMk id="2" creationId="{277BD649-2E72-AAFF-96B9-CACA5E75B3B5}"/>
          </ac:picMkLst>
        </pc:picChg>
        <pc:picChg chg="add mod">
          <ac:chgData name="Kiela Karina Moreno" userId="S::mpg7143@ads.northwestern.edu::1e897b35-0dd4-497a-9ab7-7a37e6c39d5b" providerId="AD" clId="Web-{A3834981-4FEE-D104-FE72-0C86674E991F}" dt="2024-02-07T20:30:30.595" v="44" actId="1076"/>
          <ac:picMkLst>
            <pc:docMk/>
            <pc:sldMk cId="1548499057" sldId="867"/>
            <ac:picMk id="6" creationId="{793CFA8E-DC2E-893A-6F99-216BEEE5FBE5}"/>
          </ac:picMkLst>
        </pc:picChg>
      </pc:sldChg>
      <pc:sldChg chg="addSp modSp">
        <pc:chgData name="Kiela Karina Moreno" userId="S::mpg7143@ads.northwestern.edu::1e897b35-0dd4-497a-9ab7-7a37e6c39d5b" providerId="AD" clId="Web-{A3834981-4FEE-D104-FE72-0C86674E991F}" dt="2024-02-07T20:36:24.166" v="60" actId="1076"/>
        <pc:sldMkLst>
          <pc:docMk/>
          <pc:sldMk cId="2762163785" sldId="871"/>
        </pc:sldMkLst>
        <pc:picChg chg="add mod ord">
          <ac:chgData name="Kiela Karina Moreno" userId="S::mpg7143@ads.northwestern.edu::1e897b35-0dd4-497a-9ab7-7a37e6c39d5b" providerId="AD" clId="Web-{A3834981-4FEE-D104-FE72-0C86674E991F}" dt="2024-02-07T20:36:24.166" v="60" actId="1076"/>
          <ac:picMkLst>
            <pc:docMk/>
            <pc:sldMk cId="2762163785" sldId="871"/>
            <ac:picMk id="2" creationId="{36962373-8B36-3EA1-50D9-A7C5C9660093}"/>
          </ac:picMkLst>
        </pc:picChg>
      </pc:sldChg>
    </pc:docChg>
  </pc:docChgLst>
  <pc:docChgLst>
    <pc:chgData name="Kiela Karina Moreno" userId="S::mpg7143@ads.northwestern.edu::1e897b35-0dd4-497a-9ab7-7a37e6c39d5b" providerId="AD" clId="Web-{583D3E99-3E16-430D-A2AF-B046CC68DD5B}"/>
    <pc:docChg chg="modSld sldOrd">
      <pc:chgData name="Kiela Karina Moreno" userId="S::mpg7143@ads.northwestern.edu::1e897b35-0dd4-497a-9ab7-7a37e6c39d5b" providerId="AD" clId="Web-{583D3E99-3E16-430D-A2AF-B046CC68DD5B}" dt="2024-02-14T20:39:55.743" v="599" actId="20577"/>
      <pc:docMkLst>
        <pc:docMk/>
      </pc:docMkLst>
      <pc:sldChg chg="modSp">
        <pc:chgData name="Kiela Karina Moreno" userId="S::mpg7143@ads.northwestern.edu::1e897b35-0dd4-497a-9ab7-7a37e6c39d5b" providerId="AD" clId="Web-{583D3E99-3E16-430D-A2AF-B046CC68DD5B}" dt="2024-02-14T19:59:56.272" v="8" actId="20577"/>
        <pc:sldMkLst>
          <pc:docMk/>
          <pc:sldMk cId="4044691067" sldId="283"/>
        </pc:sldMkLst>
        <pc:spChg chg="mod">
          <ac:chgData name="Kiela Karina Moreno" userId="S::mpg7143@ads.northwestern.edu::1e897b35-0dd4-497a-9ab7-7a37e6c39d5b" providerId="AD" clId="Web-{583D3E99-3E16-430D-A2AF-B046CC68DD5B}" dt="2024-02-14T19:59:56.272" v="8" actId="20577"/>
          <ac:spMkLst>
            <pc:docMk/>
            <pc:sldMk cId="4044691067" sldId="283"/>
            <ac:spMk id="5" creationId="{F0B2A739-51C3-9CBF-7F6C-3EE69AAB6035}"/>
          </ac:spMkLst>
        </pc:spChg>
      </pc:sldChg>
      <pc:sldChg chg="addSp delSp modSp">
        <pc:chgData name="Kiela Karina Moreno" userId="S::mpg7143@ads.northwestern.edu::1e897b35-0dd4-497a-9ab7-7a37e6c39d5b" providerId="AD" clId="Web-{583D3E99-3E16-430D-A2AF-B046CC68DD5B}" dt="2024-02-14T20:37:12.516" v="529" actId="20577"/>
        <pc:sldMkLst>
          <pc:docMk/>
          <pc:sldMk cId="807528301" sldId="787"/>
        </pc:sldMkLst>
        <pc:spChg chg="mod">
          <ac:chgData name="Kiela Karina Moreno" userId="S::mpg7143@ads.northwestern.edu::1e897b35-0dd4-497a-9ab7-7a37e6c39d5b" providerId="AD" clId="Web-{583D3E99-3E16-430D-A2AF-B046CC68DD5B}" dt="2024-02-14T20:36:42.499" v="510" actId="20577"/>
          <ac:spMkLst>
            <pc:docMk/>
            <pc:sldMk cId="807528301" sldId="787"/>
            <ac:spMk id="2" creationId="{2B1CE8A8-2FF3-41D9-8EBB-20BAFAA12885}"/>
          </ac:spMkLst>
        </pc:spChg>
        <pc:spChg chg="del mod">
          <ac:chgData name="Kiela Karina Moreno" userId="S::mpg7143@ads.northwestern.edu::1e897b35-0dd4-497a-9ab7-7a37e6c39d5b" providerId="AD" clId="Web-{583D3E99-3E16-430D-A2AF-B046CC68DD5B}" dt="2024-02-14T20:32:03.221" v="486"/>
          <ac:spMkLst>
            <pc:docMk/>
            <pc:sldMk cId="807528301" sldId="787"/>
            <ac:spMk id="3" creationId="{346BEF43-F0D4-4DBB-8DD8-70A340D2EBE7}"/>
          </ac:spMkLst>
        </pc:spChg>
        <pc:spChg chg="add del mod">
          <ac:chgData name="Kiela Karina Moreno" userId="S::mpg7143@ads.northwestern.edu::1e897b35-0dd4-497a-9ab7-7a37e6c39d5b" providerId="AD" clId="Web-{583D3E99-3E16-430D-A2AF-B046CC68DD5B}" dt="2024-02-14T20:32:50.239" v="487"/>
          <ac:spMkLst>
            <pc:docMk/>
            <pc:sldMk cId="807528301" sldId="787"/>
            <ac:spMk id="7" creationId="{DE5D4FFA-1DB2-6FCE-B999-7C060140220E}"/>
          </ac:spMkLst>
        </pc:spChg>
        <pc:spChg chg="add mod">
          <ac:chgData name="Kiela Karina Moreno" userId="S::mpg7143@ads.northwestern.edu::1e897b35-0dd4-497a-9ab7-7a37e6c39d5b" providerId="AD" clId="Web-{583D3E99-3E16-430D-A2AF-B046CC68DD5B}" dt="2024-02-14T20:37:12.516" v="529" actId="20577"/>
          <ac:spMkLst>
            <pc:docMk/>
            <pc:sldMk cId="807528301" sldId="787"/>
            <ac:spMk id="8" creationId="{01B365A6-C3EB-0EC4-A1E7-514C90BBCBAD}"/>
          </ac:spMkLst>
        </pc:spChg>
        <pc:spChg chg="add mod">
          <ac:chgData name="Kiela Karina Moreno" userId="S::mpg7143@ads.northwestern.edu::1e897b35-0dd4-497a-9ab7-7a37e6c39d5b" providerId="AD" clId="Web-{583D3E99-3E16-430D-A2AF-B046CC68DD5B}" dt="2024-02-14T20:34:38.369" v="505" actId="1076"/>
          <ac:spMkLst>
            <pc:docMk/>
            <pc:sldMk cId="807528301" sldId="787"/>
            <ac:spMk id="9" creationId="{BB0710AF-590A-EC77-D10B-542B21941BBC}"/>
          </ac:spMkLst>
        </pc:spChg>
        <pc:spChg chg="add mod">
          <ac:chgData name="Kiela Karina Moreno" userId="S::mpg7143@ads.northwestern.edu::1e897b35-0dd4-497a-9ab7-7a37e6c39d5b" providerId="AD" clId="Web-{583D3E99-3E16-430D-A2AF-B046CC68DD5B}" dt="2024-02-14T20:34:01.586" v="500" actId="20577"/>
          <ac:spMkLst>
            <pc:docMk/>
            <pc:sldMk cId="807528301" sldId="787"/>
            <ac:spMk id="10" creationId="{D3850892-A3BD-8B99-159E-5D4E4A88E5A2}"/>
          </ac:spMkLst>
        </pc:spChg>
        <pc:spChg chg="add mod">
          <ac:chgData name="Kiela Karina Moreno" userId="S::mpg7143@ads.northwestern.edu::1e897b35-0dd4-497a-9ab7-7a37e6c39d5b" providerId="AD" clId="Web-{583D3E99-3E16-430D-A2AF-B046CC68DD5B}" dt="2024-02-14T20:33:40.413" v="497" actId="20577"/>
          <ac:spMkLst>
            <pc:docMk/>
            <pc:sldMk cId="807528301" sldId="787"/>
            <ac:spMk id="11" creationId="{73643F8F-A7D3-2284-E7B9-01F679549E1D}"/>
          </ac:spMkLst>
        </pc:spChg>
      </pc:sldChg>
      <pc:sldChg chg="modSp">
        <pc:chgData name="Kiela Karina Moreno" userId="S::mpg7143@ads.northwestern.edu::1e897b35-0dd4-497a-9ab7-7a37e6c39d5b" providerId="AD" clId="Web-{583D3E99-3E16-430D-A2AF-B046CC68DD5B}" dt="2024-02-14T20:03:17.219" v="33" actId="20577"/>
        <pc:sldMkLst>
          <pc:docMk/>
          <pc:sldMk cId="3558960164" sldId="849"/>
        </pc:sldMkLst>
        <pc:spChg chg="mod">
          <ac:chgData name="Kiela Karina Moreno" userId="S::mpg7143@ads.northwestern.edu::1e897b35-0dd4-497a-9ab7-7a37e6c39d5b" providerId="AD" clId="Web-{583D3E99-3E16-430D-A2AF-B046CC68DD5B}" dt="2024-02-14T20:03:17.219" v="33" actId="20577"/>
          <ac:spMkLst>
            <pc:docMk/>
            <pc:sldMk cId="3558960164" sldId="849"/>
            <ac:spMk id="2" creationId="{F3279978-6647-EDE0-87A0-C3A213094B47}"/>
          </ac:spMkLst>
        </pc:spChg>
      </pc:sldChg>
      <pc:sldChg chg="addSp modSp ord">
        <pc:chgData name="Kiela Karina Moreno" userId="S::mpg7143@ads.northwestern.edu::1e897b35-0dd4-497a-9ab7-7a37e6c39d5b" providerId="AD" clId="Web-{583D3E99-3E16-430D-A2AF-B046CC68DD5B}" dt="2024-02-14T20:22:55.195" v="206"/>
        <pc:sldMkLst>
          <pc:docMk/>
          <pc:sldMk cId="1881092197" sldId="855"/>
        </pc:sldMkLst>
        <pc:spChg chg="mod">
          <ac:chgData name="Kiela Karina Moreno" userId="S::mpg7143@ads.northwestern.edu::1e897b35-0dd4-497a-9ab7-7a37e6c39d5b" providerId="AD" clId="Web-{583D3E99-3E16-430D-A2AF-B046CC68DD5B}" dt="2024-02-14T20:22:35.976" v="205" actId="20577"/>
          <ac:spMkLst>
            <pc:docMk/>
            <pc:sldMk cId="1881092197" sldId="855"/>
            <ac:spMk id="3" creationId="{23C63934-04CC-F21C-59FC-C580A9F65EC3}"/>
          </ac:spMkLst>
        </pc:spChg>
        <pc:spChg chg="mod">
          <ac:chgData name="Kiela Karina Moreno" userId="S::mpg7143@ads.northwestern.edu::1e897b35-0dd4-497a-9ab7-7a37e6c39d5b" providerId="AD" clId="Web-{583D3E99-3E16-430D-A2AF-B046CC68DD5B}" dt="2024-02-14T20:12:34.370" v="146" actId="1076"/>
          <ac:spMkLst>
            <pc:docMk/>
            <pc:sldMk cId="1881092197" sldId="855"/>
            <ac:spMk id="9" creationId="{C850D7A8-6021-7083-F66D-8B12ADD8B461}"/>
          </ac:spMkLst>
        </pc:spChg>
        <pc:picChg chg="add mod">
          <ac:chgData name="Kiela Karina Moreno" userId="S::mpg7143@ads.northwestern.edu::1e897b35-0dd4-497a-9ab7-7a37e6c39d5b" providerId="AD" clId="Web-{583D3E99-3E16-430D-A2AF-B046CC68DD5B}" dt="2024-02-14T20:09:04.453" v="88" actId="1076"/>
          <ac:picMkLst>
            <pc:docMk/>
            <pc:sldMk cId="1881092197" sldId="855"/>
            <ac:picMk id="5" creationId="{EF0C6CDF-E69F-FC43-4F1C-C76E7A4014DF}"/>
          </ac:picMkLst>
        </pc:picChg>
        <pc:picChg chg="add mod">
          <ac:chgData name="Kiela Karina Moreno" userId="S::mpg7143@ads.northwestern.edu::1e897b35-0dd4-497a-9ab7-7a37e6c39d5b" providerId="AD" clId="Web-{583D3E99-3E16-430D-A2AF-B046CC68DD5B}" dt="2024-02-14T20:12:21.900" v="145" actId="1076"/>
          <ac:picMkLst>
            <pc:docMk/>
            <pc:sldMk cId="1881092197" sldId="855"/>
            <ac:picMk id="8" creationId="{ED2A9DD2-624E-F2CA-6119-B16F1A2D0A60}"/>
          </ac:picMkLst>
        </pc:picChg>
        <pc:picChg chg="add mod">
          <ac:chgData name="Kiela Karina Moreno" userId="S::mpg7143@ads.northwestern.edu::1e897b35-0dd4-497a-9ab7-7a37e6c39d5b" providerId="AD" clId="Web-{583D3E99-3E16-430D-A2AF-B046CC68DD5B}" dt="2024-02-14T20:20:27.845" v="197" actId="1076"/>
          <ac:picMkLst>
            <pc:docMk/>
            <pc:sldMk cId="1881092197" sldId="855"/>
            <ac:picMk id="10" creationId="{A9F52B3D-4D4E-AED0-17DC-A245A8411EA2}"/>
          </ac:picMkLst>
        </pc:picChg>
        <pc:picChg chg="add mod ord">
          <ac:chgData name="Kiela Karina Moreno" userId="S::mpg7143@ads.northwestern.edu::1e897b35-0dd4-497a-9ab7-7a37e6c39d5b" providerId="AD" clId="Web-{583D3E99-3E16-430D-A2AF-B046CC68DD5B}" dt="2024-02-14T20:20:54.190" v="200"/>
          <ac:picMkLst>
            <pc:docMk/>
            <pc:sldMk cId="1881092197" sldId="855"/>
            <ac:picMk id="12" creationId="{52178671-9617-C000-23A9-3B41BB9005F6}"/>
          </ac:picMkLst>
        </pc:picChg>
      </pc:sldChg>
      <pc:sldChg chg="modSp">
        <pc:chgData name="Kiela Karina Moreno" userId="S::mpg7143@ads.northwestern.edu::1e897b35-0dd4-497a-9ab7-7a37e6c39d5b" providerId="AD" clId="Web-{583D3E99-3E16-430D-A2AF-B046CC68DD5B}" dt="2024-02-14T20:39:55.743" v="599" actId="20577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583D3E99-3E16-430D-A2AF-B046CC68DD5B}" dt="2024-02-14T20:39:55.743" v="599" actId="20577"/>
          <ac:spMkLst>
            <pc:docMk/>
            <pc:sldMk cId="2820585005" sldId="856"/>
            <ac:spMk id="5" creationId="{128C267F-D634-3898-5F27-33D0A5C5B94E}"/>
          </ac:spMkLst>
        </pc:spChg>
      </pc:sldChg>
      <pc:sldChg chg="modSp">
        <pc:chgData name="Kiela Karina Moreno" userId="S::mpg7143@ads.northwestern.edu::1e897b35-0dd4-497a-9ab7-7a37e6c39d5b" providerId="AD" clId="Web-{583D3E99-3E16-430D-A2AF-B046CC68DD5B}" dt="2024-02-14T20:03:06.515" v="31" actId="20577"/>
        <pc:sldMkLst>
          <pc:docMk/>
          <pc:sldMk cId="927158119" sldId="868"/>
        </pc:sldMkLst>
        <pc:spChg chg="mod">
          <ac:chgData name="Kiela Karina Moreno" userId="S::mpg7143@ads.northwestern.edu::1e897b35-0dd4-497a-9ab7-7a37e6c39d5b" providerId="AD" clId="Web-{583D3E99-3E16-430D-A2AF-B046CC68DD5B}" dt="2024-02-14T20:03:06.515" v="31" actId="20577"/>
          <ac:spMkLst>
            <pc:docMk/>
            <pc:sldMk cId="927158119" sldId="868"/>
            <ac:spMk id="2" creationId="{740580F6-8254-3A9A-13D0-E1CFC13D6836}"/>
          </ac:spMkLst>
        </pc:spChg>
      </pc:sldChg>
      <pc:sldChg chg="modSp">
        <pc:chgData name="Kiela Karina Moreno" userId="S::mpg7143@ads.northwestern.edu::1e897b35-0dd4-497a-9ab7-7a37e6c39d5b" providerId="AD" clId="Web-{583D3E99-3E16-430D-A2AF-B046CC68DD5B}" dt="2024-02-14T20:23:55.542" v="216" actId="20577"/>
        <pc:sldMkLst>
          <pc:docMk/>
          <pc:sldMk cId="2762163785" sldId="871"/>
        </pc:sldMkLst>
        <pc:spChg chg="mod">
          <ac:chgData name="Kiela Karina Moreno" userId="S::mpg7143@ads.northwestern.edu::1e897b35-0dd4-497a-9ab7-7a37e6c39d5b" providerId="AD" clId="Web-{583D3E99-3E16-430D-A2AF-B046CC68DD5B}" dt="2024-02-14T20:23:55.542" v="216" actId="20577"/>
          <ac:spMkLst>
            <pc:docMk/>
            <pc:sldMk cId="2762163785" sldId="871"/>
            <ac:spMk id="6" creationId="{AF9017BA-C0A8-6BEE-2C56-82860CA64E5C}"/>
          </ac:spMkLst>
        </pc:spChg>
      </pc:sldChg>
      <pc:sldChg chg="modSp">
        <pc:chgData name="Kiela Karina Moreno" userId="S::mpg7143@ads.northwestern.edu::1e897b35-0dd4-497a-9ab7-7a37e6c39d5b" providerId="AD" clId="Web-{583D3E99-3E16-430D-A2AF-B046CC68DD5B}" dt="2024-02-14T20:08:13.514" v="84" actId="20577"/>
        <pc:sldMkLst>
          <pc:docMk/>
          <pc:sldMk cId="4226091729" sldId="872"/>
        </pc:sldMkLst>
        <pc:spChg chg="mod">
          <ac:chgData name="Kiela Karina Moreno" userId="S::mpg7143@ads.northwestern.edu::1e897b35-0dd4-497a-9ab7-7a37e6c39d5b" providerId="AD" clId="Web-{583D3E99-3E16-430D-A2AF-B046CC68DD5B}" dt="2024-02-14T20:08:13.514" v="84" actId="20577"/>
          <ac:spMkLst>
            <pc:docMk/>
            <pc:sldMk cId="4226091729" sldId="872"/>
            <ac:spMk id="4" creationId="{130B00A8-3B32-022D-BFC3-991389FEF984}"/>
          </ac:spMkLst>
        </pc:spChg>
      </pc:sldChg>
      <pc:sldChg chg="addSp delSp modSp">
        <pc:chgData name="Kiela Karina Moreno" userId="S::mpg7143@ads.northwestern.edu::1e897b35-0dd4-497a-9ab7-7a37e6c39d5b" providerId="AD" clId="Web-{583D3E99-3E16-430D-A2AF-B046CC68DD5B}" dt="2024-02-14T20:26:09.048" v="257" actId="20577"/>
        <pc:sldMkLst>
          <pc:docMk/>
          <pc:sldMk cId="2503595924" sldId="873"/>
        </pc:sldMkLst>
        <pc:spChg chg="mod">
          <ac:chgData name="Kiela Karina Moreno" userId="S::mpg7143@ads.northwestern.edu::1e897b35-0dd4-497a-9ab7-7a37e6c39d5b" providerId="AD" clId="Web-{583D3E99-3E16-430D-A2AF-B046CC68DD5B}" dt="2024-02-14T20:02:56.874" v="30" actId="14100"/>
          <ac:spMkLst>
            <pc:docMk/>
            <pc:sldMk cId="2503595924" sldId="873"/>
            <ac:spMk id="3" creationId="{36FA345A-9115-2EC6-1F35-8D4271906D3B}"/>
          </ac:spMkLst>
        </pc:spChg>
        <pc:spChg chg="mod">
          <ac:chgData name="Kiela Karina Moreno" userId="S::mpg7143@ads.northwestern.edu::1e897b35-0dd4-497a-9ab7-7a37e6c39d5b" providerId="AD" clId="Web-{583D3E99-3E16-430D-A2AF-B046CC68DD5B}" dt="2024-02-14T20:26:09.048" v="257" actId="20577"/>
          <ac:spMkLst>
            <pc:docMk/>
            <pc:sldMk cId="2503595924" sldId="873"/>
            <ac:spMk id="6" creationId="{3BAEDEA5-EBC0-20F3-5139-AA49CBA25633}"/>
          </ac:spMkLst>
        </pc:spChg>
        <pc:picChg chg="add del mod">
          <ac:chgData name="Kiela Karina Moreno" userId="S::mpg7143@ads.northwestern.edu::1e897b35-0dd4-497a-9ab7-7a37e6c39d5b" providerId="AD" clId="Web-{583D3E99-3E16-430D-A2AF-B046CC68DD5B}" dt="2024-02-14T20:25:34.640" v="221"/>
          <ac:picMkLst>
            <pc:docMk/>
            <pc:sldMk cId="2503595924" sldId="873"/>
            <ac:picMk id="2" creationId="{26324DD6-5597-6950-05BF-500E572DCAC2}"/>
          </ac:picMkLst>
        </pc:picChg>
      </pc:sldChg>
      <pc:sldChg chg="modSp">
        <pc:chgData name="Kiela Karina Moreno" userId="S::mpg7143@ads.northwestern.edu::1e897b35-0dd4-497a-9ab7-7a37e6c39d5b" providerId="AD" clId="Web-{583D3E99-3E16-430D-A2AF-B046CC68DD5B}" dt="2024-02-14T20:01:02.994" v="14"/>
        <pc:sldMkLst>
          <pc:docMk/>
          <pc:sldMk cId="3352784023" sldId="874"/>
        </pc:sldMkLst>
        <pc:spChg chg="mod">
          <ac:chgData name="Kiela Karina Moreno" userId="S::mpg7143@ads.northwestern.edu::1e897b35-0dd4-497a-9ab7-7a37e6c39d5b" providerId="AD" clId="Web-{583D3E99-3E16-430D-A2AF-B046CC68DD5B}" dt="2024-02-14T20:01:02.994" v="14"/>
          <ac:spMkLst>
            <pc:docMk/>
            <pc:sldMk cId="3352784023" sldId="874"/>
            <ac:spMk id="2" creationId="{4750E6DC-BCB6-7021-74E4-A553695C7B5E}"/>
          </ac:spMkLst>
        </pc:spChg>
      </pc:sldChg>
      <pc:sldChg chg="modSp">
        <pc:chgData name="Kiela Karina Moreno" userId="S::mpg7143@ads.northwestern.edu::1e897b35-0dd4-497a-9ab7-7a37e6c39d5b" providerId="AD" clId="Web-{583D3E99-3E16-430D-A2AF-B046CC68DD5B}" dt="2024-02-14T20:13:33.638" v="148" actId="20577"/>
        <pc:sldMkLst>
          <pc:docMk/>
          <pc:sldMk cId="1848458524" sldId="875"/>
        </pc:sldMkLst>
        <pc:spChg chg="mod">
          <ac:chgData name="Kiela Karina Moreno" userId="S::mpg7143@ads.northwestern.edu::1e897b35-0dd4-497a-9ab7-7a37e6c39d5b" providerId="AD" clId="Web-{583D3E99-3E16-430D-A2AF-B046CC68DD5B}" dt="2024-02-14T20:13:33.638" v="148" actId="20577"/>
          <ac:spMkLst>
            <pc:docMk/>
            <pc:sldMk cId="1848458524" sldId="875"/>
            <ac:spMk id="22" creationId="{8ABA3E72-0F12-C088-6AD1-F2AC98F861D2}"/>
          </ac:spMkLst>
        </pc:spChg>
      </pc:sldChg>
      <pc:sldChg chg="modSp">
        <pc:chgData name="Kiela Karina Moreno" userId="S::mpg7143@ads.northwestern.edu::1e897b35-0dd4-497a-9ab7-7a37e6c39d5b" providerId="AD" clId="Web-{583D3E99-3E16-430D-A2AF-B046CC68DD5B}" dt="2024-02-14T20:13:18.700" v="147" actId="20577"/>
        <pc:sldMkLst>
          <pc:docMk/>
          <pc:sldMk cId="2067131191" sldId="876"/>
        </pc:sldMkLst>
        <pc:spChg chg="mod">
          <ac:chgData name="Kiela Karina Moreno" userId="S::mpg7143@ads.northwestern.edu::1e897b35-0dd4-497a-9ab7-7a37e6c39d5b" providerId="AD" clId="Web-{583D3E99-3E16-430D-A2AF-B046CC68DD5B}" dt="2024-02-14T20:13:18.700" v="147" actId="20577"/>
          <ac:spMkLst>
            <pc:docMk/>
            <pc:sldMk cId="2067131191" sldId="876"/>
            <ac:spMk id="9" creationId="{00000000-0000-0000-0000-000000000000}"/>
          </ac:spMkLst>
        </pc:spChg>
      </pc:sldChg>
      <pc:sldChg chg="addSp modSp">
        <pc:chgData name="Kiela Karina Moreno" userId="S::mpg7143@ads.northwestern.edu::1e897b35-0dd4-497a-9ab7-7a37e6c39d5b" providerId="AD" clId="Web-{583D3E99-3E16-430D-A2AF-B046CC68DD5B}" dt="2024-02-14T20:31:24.266" v="444" actId="14100"/>
        <pc:sldMkLst>
          <pc:docMk/>
          <pc:sldMk cId="1858777902" sldId="877"/>
        </pc:sldMkLst>
        <pc:spChg chg="mod">
          <ac:chgData name="Kiela Karina Moreno" userId="S::mpg7143@ads.northwestern.edu::1e897b35-0dd4-497a-9ab7-7a37e6c39d5b" providerId="AD" clId="Web-{583D3E99-3E16-430D-A2AF-B046CC68DD5B}" dt="2024-02-14T20:28:09.382" v="307" actId="1076"/>
          <ac:spMkLst>
            <pc:docMk/>
            <pc:sldMk cId="1858777902" sldId="877"/>
            <ac:spMk id="2" creationId="{88C03B97-F91F-5C26-7B79-00E0DB69BAF4}"/>
          </ac:spMkLst>
        </pc:spChg>
        <pc:spChg chg="mod">
          <ac:chgData name="Kiela Karina Moreno" userId="S::mpg7143@ads.northwestern.edu::1e897b35-0dd4-497a-9ab7-7a37e6c39d5b" providerId="AD" clId="Web-{583D3E99-3E16-430D-A2AF-B046CC68DD5B}" dt="2024-02-14T20:28:27.273" v="314" actId="20577"/>
          <ac:spMkLst>
            <pc:docMk/>
            <pc:sldMk cId="1858777902" sldId="877"/>
            <ac:spMk id="3" creationId="{B1427D6B-E22E-C7B2-7E6C-15F100C2036F}"/>
          </ac:spMkLst>
        </pc:spChg>
        <pc:spChg chg="add mod">
          <ac:chgData name="Kiela Karina Moreno" userId="S::mpg7143@ads.northwestern.edu::1e897b35-0dd4-497a-9ab7-7a37e6c39d5b" providerId="AD" clId="Web-{583D3E99-3E16-430D-A2AF-B046CC68DD5B}" dt="2024-02-14T20:29:21.010" v="325" actId="1076"/>
          <ac:spMkLst>
            <pc:docMk/>
            <pc:sldMk cId="1858777902" sldId="877"/>
            <ac:spMk id="12" creationId="{0F297E2A-1274-4BC1-710E-7BA46CA5C08F}"/>
          </ac:spMkLst>
        </pc:spChg>
        <pc:spChg chg="add mod">
          <ac:chgData name="Kiela Karina Moreno" userId="S::mpg7143@ads.northwestern.edu::1e897b35-0dd4-497a-9ab7-7a37e6c39d5b" providerId="AD" clId="Web-{583D3E99-3E16-430D-A2AF-B046CC68DD5B}" dt="2024-02-14T20:31:24.266" v="444" actId="14100"/>
          <ac:spMkLst>
            <pc:docMk/>
            <pc:sldMk cId="1858777902" sldId="877"/>
            <ac:spMk id="14" creationId="{0AF4C527-3F15-CC2E-8B93-84E572FC6D32}"/>
          </ac:spMkLst>
        </pc:spChg>
        <pc:picChg chg="add mod ord">
          <ac:chgData name="Kiela Karina Moreno" userId="S::mpg7143@ads.northwestern.edu::1e897b35-0dd4-497a-9ab7-7a37e6c39d5b" providerId="AD" clId="Web-{583D3E99-3E16-430D-A2AF-B046CC68DD5B}" dt="2024-02-14T20:06:41.603" v="50" actId="1076"/>
          <ac:picMkLst>
            <pc:docMk/>
            <pc:sldMk cId="1858777902" sldId="877"/>
            <ac:picMk id="10" creationId="{1DE6BAE1-FF45-56F7-E875-6BC199F9E7BF}"/>
          </ac:picMkLst>
        </pc:picChg>
      </pc:sldChg>
      <pc:sldChg chg="delSp modSp">
        <pc:chgData name="Kiela Karina Moreno" userId="S::mpg7143@ads.northwestern.edu::1e897b35-0dd4-497a-9ab7-7a37e6c39d5b" providerId="AD" clId="Web-{583D3E99-3E16-430D-A2AF-B046CC68DD5B}" dt="2024-02-14T20:02:05.590" v="25" actId="20577"/>
        <pc:sldMkLst>
          <pc:docMk/>
          <pc:sldMk cId="3394670119" sldId="878"/>
        </pc:sldMkLst>
        <pc:spChg chg="mod">
          <ac:chgData name="Kiela Karina Moreno" userId="S::mpg7143@ads.northwestern.edu::1e897b35-0dd4-497a-9ab7-7a37e6c39d5b" providerId="AD" clId="Web-{583D3E99-3E16-430D-A2AF-B046CC68DD5B}" dt="2024-02-14T20:02:05.590" v="25" actId="20577"/>
          <ac:spMkLst>
            <pc:docMk/>
            <pc:sldMk cId="3394670119" sldId="878"/>
            <ac:spMk id="2" creationId="{7A9791C4-9B3C-9538-F299-A006E1E9E4CE}"/>
          </ac:spMkLst>
        </pc:spChg>
        <pc:spChg chg="del">
          <ac:chgData name="Kiela Karina Moreno" userId="S::mpg7143@ads.northwestern.edu::1e897b35-0dd4-497a-9ab7-7a37e6c39d5b" providerId="AD" clId="Web-{583D3E99-3E16-430D-A2AF-B046CC68DD5B}" dt="2024-02-14T19:53:44.536" v="6"/>
          <ac:spMkLst>
            <pc:docMk/>
            <pc:sldMk cId="3394670119" sldId="878"/>
            <ac:spMk id="3" creationId="{04A7AEC2-7AB6-794F-334E-5A5C2DC49EDE}"/>
          </ac:spMkLst>
        </pc:spChg>
      </pc:sldChg>
    </pc:docChg>
  </pc:docChgLst>
  <pc:docChgLst>
    <pc:chgData name="Kiela Karina Moreno" userId="S::mpg7143@ads.northwestern.edu::1e897b35-0dd4-497a-9ab7-7a37e6c39d5b" providerId="AD" clId="Web-{534DCEDE-8C86-30AD-73CE-07D27B6D228F}"/>
    <pc:docChg chg="modSld">
      <pc:chgData name="Kiela Karina Moreno" userId="S::mpg7143@ads.northwestern.edu::1e897b35-0dd4-497a-9ab7-7a37e6c39d5b" providerId="AD" clId="Web-{534DCEDE-8C86-30AD-73CE-07D27B6D228F}" dt="2024-02-07T20:47:22.373" v="108"/>
      <pc:docMkLst>
        <pc:docMk/>
      </pc:docMkLst>
      <pc:sldChg chg="modSp">
        <pc:chgData name="Kiela Karina Moreno" userId="S::mpg7143@ads.northwestern.edu::1e897b35-0dd4-497a-9ab7-7a37e6c39d5b" providerId="AD" clId="Web-{534DCEDE-8C86-30AD-73CE-07D27B6D228F}" dt="2024-02-07T20:40:07.028" v="0"/>
        <pc:sldMkLst>
          <pc:docMk/>
          <pc:sldMk cId="3127921386" sldId="280"/>
        </pc:sldMkLst>
        <pc:spChg chg="mod">
          <ac:chgData name="Kiela Karina Moreno" userId="S::mpg7143@ads.northwestern.edu::1e897b35-0dd4-497a-9ab7-7a37e6c39d5b" providerId="AD" clId="Web-{534DCEDE-8C86-30AD-73CE-07D27B6D228F}" dt="2024-02-07T20:40:07.028" v="0"/>
          <ac:spMkLst>
            <pc:docMk/>
            <pc:sldMk cId="3127921386" sldId="280"/>
            <ac:spMk id="3" creationId="{1D742501-F937-8041-84E5-748F96AE991B}"/>
          </ac:spMkLst>
        </pc:spChg>
      </pc:sldChg>
      <pc:sldChg chg="modSp">
        <pc:chgData name="Kiela Karina Moreno" userId="S::mpg7143@ads.northwestern.edu::1e897b35-0dd4-497a-9ab7-7a37e6c39d5b" providerId="AD" clId="Web-{534DCEDE-8C86-30AD-73CE-07D27B6D228F}" dt="2024-02-07T20:47:05.466" v="99" actId="20577"/>
        <pc:sldMkLst>
          <pc:docMk/>
          <pc:sldMk cId="1234199256" sldId="289"/>
        </pc:sldMkLst>
        <pc:spChg chg="mod">
          <ac:chgData name="Kiela Karina Moreno" userId="S::mpg7143@ads.northwestern.edu::1e897b35-0dd4-497a-9ab7-7a37e6c39d5b" providerId="AD" clId="Web-{534DCEDE-8C86-30AD-73CE-07D27B6D228F}" dt="2024-02-07T20:47:05.466" v="99" actId="20577"/>
          <ac:spMkLst>
            <pc:docMk/>
            <pc:sldMk cId="1234199256" sldId="289"/>
            <ac:spMk id="2" creationId="{4750E6DC-BCB6-7021-74E4-A553695C7B5E}"/>
          </ac:spMkLst>
        </pc:spChg>
      </pc:sldChg>
      <pc:sldChg chg="modSp">
        <pc:chgData name="Kiela Karina Moreno" userId="S::mpg7143@ads.northwestern.edu::1e897b35-0dd4-497a-9ab7-7a37e6c39d5b" providerId="AD" clId="Web-{534DCEDE-8C86-30AD-73CE-07D27B6D228F}" dt="2024-02-07T20:40:42.326" v="2" actId="20577"/>
        <pc:sldMkLst>
          <pc:docMk/>
          <pc:sldMk cId="1141813547" sldId="737"/>
        </pc:sldMkLst>
        <pc:spChg chg="mod">
          <ac:chgData name="Kiela Karina Moreno" userId="S::mpg7143@ads.northwestern.edu::1e897b35-0dd4-497a-9ab7-7a37e6c39d5b" providerId="AD" clId="Web-{534DCEDE-8C86-30AD-73CE-07D27B6D228F}" dt="2024-02-07T20:40:42.326" v="2" actId="20577"/>
          <ac:spMkLst>
            <pc:docMk/>
            <pc:sldMk cId="1141813547" sldId="737"/>
            <ac:spMk id="19" creationId="{00000000-0000-0000-0000-000000000000}"/>
          </ac:spMkLst>
        </pc:spChg>
      </pc:sldChg>
      <pc:sldChg chg="modSp">
        <pc:chgData name="Kiela Karina Moreno" userId="S::mpg7143@ads.northwestern.edu::1e897b35-0dd4-497a-9ab7-7a37e6c39d5b" providerId="AD" clId="Web-{534DCEDE-8C86-30AD-73CE-07D27B6D228F}" dt="2024-02-07T20:46:55.591" v="98" actId="20577"/>
        <pc:sldMkLst>
          <pc:docMk/>
          <pc:sldMk cId="1690262315" sldId="835"/>
        </pc:sldMkLst>
        <pc:spChg chg="mod">
          <ac:chgData name="Kiela Karina Moreno" userId="S::mpg7143@ads.northwestern.edu::1e897b35-0dd4-497a-9ab7-7a37e6c39d5b" providerId="AD" clId="Web-{534DCEDE-8C86-30AD-73CE-07D27B6D228F}" dt="2024-02-07T20:46:41.043" v="96" actId="1076"/>
          <ac:spMkLst>
            <pc:docMk/>
            <pc:sldMk cId="1690262315" sldId="835"/>
            <ac:spMk id="15" creationId="{72552A16-8979-8328-044D-EB965134F322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6:48.559" v="97"/>
          <ac:spMkLst>
            <pc:docMk/>
            <pc:sldMk cId="1690262315" sldId="835"/>
            <ac:spMk id="20" creationId="{3FF70AE4-9AF0-75FE-8520-8A3427521F2B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6:55.591" v="98" actId="20577"/>
          <ac:spMkLst>
            <pc:docMk/>
            <pc:sldMk cId="1690262315" sldId="835"/>
            <ac:spMk id="22" creationId="{8ABA3E72-0F12-C088-6AD1-F2AC98F861D2}"/>
          </ac:spMkLst>
        </pc:spChg>
      </pc:sldChg>
      <pc:sldChg chg="modSp">
        <pc:chgData name="Kiela Karina Moreno" userId="S::mpg7143@ads.northwestern.edu::1e897b35-0dd4-497a-9ab7-7a37e6c39d5b" providerId="AD" clId="Web-{534DCEDE-8C86-30AD-73CE-07D27B6D228F}" dt="2024-02-07T20:46:06.886" v="92"/>
        <pc:sldMkLst>
          <pc:docMk/>
          <pc:sldMk cId="1310655723" sldId="836"/>
        </pc:sldMkLst>
        <pc:spChg chg="mod">
          <ac:chgData name="Kiela Karina Moreno" userId="S::mpg7143@ads.northwestern.edu::1e897b35-0dd4-497a-9ab7-7a37e6c39d5b" providerId="AD" clId="Web-{534DCEDE-8C86-30AD-73CE-07D27B6D228F}" dt="2024-02-07T20:46:06.886" v="92"/>
          <ac:spMkLst>
            <pc:docMk/>
            <pc:sldMk cId="1310655723" sldId="836"/>
            <ac:spMk id="7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5:55.526" v="90"/>
          <ac:spMkLst>
            <pc:docMk/>
            <pc:sldMk cId="1310655723" sldId="836"/>
            <ac:spMk id="8" creationId="{00000000-0000-0000-0000-000000000000}"/>
          </ac:spMkLst>
        </pc:spChg>
      </pc:sldChg>
      <pc:sldChg chg="modSp">
        <pc:chgData name="Kiela Karina Moreno" userId="S::mpg7143@ads.northwestern.edu::1e897b35-0dd4-497a-9ab7-7a37e6c39d5b" providerId="AD" clId="Web-{534DCEDE-8C86-30AD-73CE-07D27B6D228F}" dt="2024-02-07T20:47:22.373" v="108"/>
        <pc:sldMkLst>
          <pc:docMk/>
          <pc:sldMk cId="3117634655" sldId="845"/>
        </pc:sldMkLst>
        <pc:spChg chg="mod">
          <ac:chgData name="Kiela Karina Moreno" userId="S::mpg7143@ads.northwestern.edu::1e897b35-0dd4-497a-9ab7-7a37e6c39d5b" providerId="AD" clId="Web-{534DCEDE-8C86-30AD-73CE-07D27B6D228F}" dt="2024-02-07T20:47:19.045" v="101"/>
          <ac:spMkLst>
            <pc:docMk/>
            <pc:sldMk cId="3117634655" sldId="845"/>
            <ac:spMk id="2" creationId="{875610D5-0922-E3FB-2E32-5E2628A0D3BB}"/>
          </ac:spMkLst>
        </pc:spChg>
        <pc:graphicFrameChg chg="mod modGraphic">
          <ac:chgData name="Kiela Karina Moreno" userId="S::mpg7143@ads.northwestern.edu::1e897b35-0dd4-497a-9ab7-7a37e6c39d5b" providerId="AD" clId="Web-{534DCEDE-8C86-30AD-73CE-07D27B6D228F}" dt="2024-02-07T20:47:22.373" v="108"/>
          <ac:graphicFrameMkLst>
            <pc:docMk/>
            <pc:sldMk cId="3117634655" sldId="845"/>
            <ac:graphicFrameMk id="6" creationId="{3349F207-60F4-234D-4729-00A6824BBB25}"/>
          </ac:graphicFrameMkLst>
        </pc:graphicFrameChg>
      </pc:sldChg>
      <pc:sldChg chg="modSp">
        <pc:chgData name="Kiela Karina Moreno" userId="S::mpg7143@ads.northwestern.edu::1e897b35-0dd4-497a-9ab7-7a37e6c39d5b" providerId="AD" clId="Web-{534DCEDE-8C86-30AD-73CE-07D27B6D228F}" dt="2024-02-07T20:47:11.607" v="100" actId="20577"/>
        <pc:sldMkLst>
          <pc:docMk/>
          <pc:sldMk cId="1663322964" sldId="846"/>
        </pc:sldMkLst>
        <pc:spChg chg="mod">
          <ac:chgData name="Kiela Karina Moreno" userId="S::mpg7143@ads.northwestern.edu::1e897b35-0dd4-497a-9ab7-7a37e6c39d5b" providerId="AD" clId="Web-{534DCEDE-8C86-30AD-73CE-07D27B6D228F}" dt="2024-02-07T20:47:11.607" v="100" actId="20577"/>
          <ac:spMkLst>
            <pc:docMk/>
            <pc:sldMk cId="1663322964" sldId="846"/>
            <ac:spMk id="2" creationId="{00000000-0000-0000-0000-000000000000}"/>
          </ac:spMkLst>
        </pc:spChg>
      </pc:sldChg>
      <pc:sldChg chg="modSp">
        <pc:chgData name="Kiela Karina Moreno" userId="S::mpg7143@ads.northwestern.edu::1e897b35-0dd4-497a-9ab7-7a37e6c39d5b" providerId="AD" clId="Web-{534DCEDE-8C86-30AD-73CE-07D27B6D228F}" dt="2024-02-07T20:44:49.711" v="76"/>
        <pc:sldMkLst>
          <pc:docMk/>
          <pc:sldMk cId="777023516" sldId="851"/>
        </pc:sldMkLst>
        <pc:spChg chg="mod">
          <ac:chgData name="Kiela Karina Moreno" userId="S::mpg7143@ads.northwestern.edu::1e897b35-0dd4-497a-9ab7-7a37e6c39d5b" providerId="AD" clId="Web-{534DCEDE-8C86-30AD-73CE-07D27B6D228F}" dt="2024-02-07T20:44:49.711" v="76"/>
          <ac:spMkLst>
            <pc:docMk/>
            <pc:sldMk cId="777023516" sldId="851"/>
            <ac:spMk id="3" creationId="{A068D812-8336-152D-B896-A021E583E31E}"/>
          </ac:spMkLst>
        </pc:spChg>
      </pc:sldChg>
      <pc:sldChg chg="modSp">
        <pc:chgData name="Kiela Karina Moreno" userId="S::mpg7143@ads.northwestern.edu::1e897b35-0dd4-497a-9ab7-7a37e6c39d5b" providerId="AD" clId="Web-{534DCEDE-8C86-30AD-73CE-07D27B6D228F}" dt="2024-02-07T20:40:52.686" v="3" actId="1076"/>
        <pc:sldMkLst>
          <pc:docMk/>
          <pc:sldMk cId="1210022179" sldId="858"/>
        </pc:sldMkLst>
        <pc:spChg chg="mod">
          <ac:chgData name="Kiela Karina Moreno" userId="S::mpg7143@ads.northwestern.edu::1e897b35-0dd4-497a-9ab7-7a37e6c39d5b" providerId="AD" clId="Web-{534DCEDE-8C86-30AD-73CE-07D27B6D228F}" dt="2024-02-07T20:40:52.686" v="3" actId="1076"/>
          <ac:spMkLst>
            <pc:docMk/>
            <pc:sldMk cId="1210022179" sldId="858"/>
            <ac:spMk id="2" creationId="{A6FAA70D-3B97-AAF4-599A-5BEF539C23CA}"/>
          </ac:spMkLst>
        </pc:spChg>
      </pc:sldChg>
      <pc:sldChg chg="modSp">
        <pc:chgData name="Kiela Karina Moreno" userId="S::mpg7143@ads.northwestern.edu::1e897b35-0dd4-497a-9ab7-7a37e6c39d5b" providerId="AD" clId="Web-{534DCEDE-8C86-30AD-73CE-07D27B6D228F}" dt="2024-02-07T20:43:27.801" v="70" actId="1076"/>
        <pc:sldMkLst>
          <pc:docMk/>
          <pc:sldMk cId="2616071266" sldId="863"/>
        </pc:sldMkLst>
        <pc:spChg chg="mod">
          <ac:chgData name="Kiela Karina Moreno" userId="S::mpg7143@ads.northwestern.edu::1e897b35-0dd4-497a-9ab7-7a37e6c39d5b" providerId="AD" clId="Web-{534DCEDE-8C86-30AD-73CE-07D27B6D228F}" dt="2024-02-07T20:41:36.235" v="44" actId="1076"/>
          <ac:spMkLst>
            <pc:docMk/>
            <pc:sldMk cId="2616071266" sldId="863"/>
            <ac:spMk id="2" creationId="{8DAA63EA-4CFA-BA19-A922-155243C2D2F5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36.282" v="45" actId="1076"/>
          <ac:spMkLst>
            <pc:docMk/>
            <pc:sldMk cId="2616071266" sldId="863"/>
            <ac:spMk id="3" creationId="{78102230-EA6A-3DB2-E5D4-A22B16B71C72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36.313" v="46" actId="1076"/>
          <ac:spMkLst>
            <pc:docMk/>
            <pc:sldMk cId="2616071266" sldId="863"/>
            <ac:spMk id="4" creationId="{4F380EAC-2E21-A782-F484-65FB9A0BB1E4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36.360" v="47" actId="1076"/>
          <ac:spMkLst>
            <pc:docMk/>
            <pc:sldMk cId="2616071266" sldId="863"/>
            <ac:spMk id="5" creationId="{8C23B86C-0FE9-CEED-F6F4-B024ACED163B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2:13.142" v="54" actId="1076"/>
          <ac:spMkLst>
            <pc:docMk/>
            <pc:sldMk cId="2616071266" sldId="863"/>
            <ac:spMk id="13" creationId="{6BC4087A-9690-F6FA-29A6-011C2A3B2597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3:27.801" v="70" actId="1076"/>
          <ac:spMkLst>
            <pc:docMk/>
            <pc:sldMk cId="2616071266" sldId="863"/>
            <ac:spMk id="14" creationId="{C0D13344-6ED9-F550-0D28-B6D6723851FC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3:09.379" v="66" actId="1076"/>
          <ac:spMkLst>
            <pc:docMk/>
            <pc:sldMk cId="2616071266" sldId="863"/>
            <ac:spMk id="15" creationId="{96A1527B-087D-0EE6-E1AC-43D4D1A32765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625" v="24"/>
          <ac:spMkLst>
            <pc:docMk/>
            <pc:sldMk cId="2616071266" sldId="863"/>
            <ac:spMk id="16" creationId="{FEECB93C-D3D8-F928-2CAB-FB13D7E9EC47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689" v="25"/>
          <ac:spMkLst>
            <pc:docMk/>
            <pc:sldMk cId="2616071266" sldId="863"/>
            <ac:spMk id="17" creationId="{EC39B0EA-C33D-5876-DB53-C58D52A496D6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719" v="26"/>
          <ac:spMkLst>
            <pc:docMk/>
            <pc:sldMk cId="2616071266" sldId="863"/>
            <ac:spMk id="18" creationId="{66F15AB2-B62F-464E-B311-50AFBBD36DE1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44.173" v="48" actId="1076"/>
          <ac:spMkLst>
            <pc:docMk/>
            <pc:sldMk cId="2616071266" sldId="863"/>
            <ac:spMk id="19" creationId="{8F11F7E6-7D3C-CA67-44CE-523518401191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2:25.924" v="57" actId="1076"/>
          <ac:spMkLst>
            <pc:docMk/>
            <pc:sldMk cId="2616071266" sldId="863"/>
            <ac:spMk id="20" creationId="{90C972AF-7688-4F67-3A31-B038843C8846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2:45.081" v="62" actId="1076"/>
          <ac:spMkLst>
            <pc:docMk/>
            <pc:sldMk cId="2616071266" sldId="863"/>
            <ac:spMk id="21" creationId="{A45FEF3C-668B-67E3-CB35-CBA5A0EEA8D8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3:09.394" v="67" actId="1076"/>
          <ac:spMkLst>
            <pc:docMk/>
            <pc:sldMk cId="2616071266" sldId="863"/>
            <ac:spMk id="22" creationId="{51FADBCC-273A-48A0-8BE4-0FD737D3B41E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3:09.426" v="68" actId="1076"/>
          <ac:spMkLst>
            <pc:docMk/>
            <pc:sldMk cId="2616071266" sldId="863"/>
            <ac:spMk id="23" creationId="{DC73AB53-48C3-BBE9-77E9-3701F9E15B47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3.109" v="32"/>
          <ac:spMkLst>
            <pc:docMk/>
            <pc:sldMk cId="2616071266" sldId="863"/>
            <ac:spMk id="24" creationId="{D02000B9-C11D-F485-AE3F-C73786D22302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3.156" v="33"/>
          <ac:spMkLst>
            <pc:docMk/>
            <pc:sldMk cId="2616071266" sldId="863"/>
            <ac:spMk id="25" creationId="{5DED8AFB-0106-2276-E4DB-0E4656A59EC2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3.234" v="34"/>
          <ac:spMkLst>
            <pc:docMk/>
            <pc:sldMk cId="2616071266" sldId="863"/>
            <ac:spMk id="26" creationId="{30813E15-22AD-F95A-C771-707B8C0C977C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3.297" v="35"/>
          <ac:spMkLst>
            <pc:docMk/>
            <pc:sldMk cId="2616071266" sldId="863"/>
            <ac:spMk id="27" creationId="{4B767187-5377-3A1E-3233-3E347DD48B3A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3.328" v="36"/>
          <ac:spMkLst>
            <pc:docMk/>
            <pc:sldMk cId="2616071266" sldId="863"/>
            <ac:spMk id="28" creationId="{376476E8-2F24-6971-7550-30D5858060B9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3.375" v="37"/>
          <ac:spMkLst>
            <pc:docMk/>
            <pc:sldMk cId="2616071266" sldId="863"/>
            <ac:spMk id="29" creationId="{36A1C40A-AFCE-BF8A-9900-FF1E8C9FFEF3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2:55.628" v="63" actId="1076"/>
          <ac:spMkLst>
            <pc:docMk/>
            <pc:sldMk cId="2616071266" sldId="863"/>
            <ac:spMk id="30" creationId="{D521CBA5-2389-980E-6019-208E4E9D8916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49.829" v="49" actId="1076"/>
          <ac:spMkLst>
            <pc:docMk/>
            <pc:sldMk cId="2616071266" sldId="863"/>
            <ac:spMk id="31" creationId="{BB54210E-7363-3FA4-95E8-151E37E30048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2:59.175" v="64" actId="1076"/>
          <ac:spMkLst>
            <pc:docMk/>
            <pc:sldMk cId="2616071266" sldId="863"/>
            <ac:spMk id="32" creationId="{0D061F90-29F1-2A58-F5C8-A54CF4F74914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390" v="19"/>
          <ac:spMkLst>
            <pc:docMk/>
            <pc:sldMk cId="2616071266" sldId="863"/>
            <ac:spMk id="33" creationId="{5BC8D6AE-CB14-47ED-5692-3C7D6F17290F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437" v="20"/>
          <ac:spMkLst>
            <pc:docMk/>
            <pc:sldMk cId="2616071266" sldId="863"/>
            <ac:spMk id="34" creationId="{3ED115CA-DAB2-A9F7-A14D-424D3EA94804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297" v="17"/>
          <ac:spMkLst>
            <pc:docMk/>
            <pc:sldMk cId="2616071266" sldId="863"/>
            <ac:spMk id="35" creationId="{F9589825-BA76-2A88-9C04-55A363D778BF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344" v="18"/>
          <ac:spMkLst>
            <pc:docMk/>
            <pc:sldMk cId="2616071266" sldId="863"/>
            <ac:spMk id="36" creationId="{AD834FD0-CFCA-74A3-3549-7D8C53C06D68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187" v="15"/>
          <ac:spMkLst>
            <pc:docMk/>
            <pc:sldMk cId="2616071266" sldId="863"/>
            <ac:spMk id="37" creationId="{C9711465-E2AB-8C83-8A4C-E5088F981659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250" v="16"/>
          <ac:spMkLst>
            <pc:docMk/>
            <pc:sldMk cId="2616071266" sldId="863"/>
            <ac:spMk id="38" creationId="{38224E76-B951-C878-90CC-95F2704442BD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062" v="13"/>
          <ac:spMkLst>
            <pc:docMk/>
            <pc:sldMk cId="2616071266" sldId="863"/>
            <ac:spMk id="39" creationId="{A2AE5BF7-3540-CE94-19C2-924EA7E8F198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.125" v="14"/>
          <ac:spMkLst>
            <pc:docMk/>
            <pc:sldMk cId="2616071266" sldId="863"/>
            <ac:spMk id="40" creationId="{5D91E411-CD65-C2B6-785E-8F2A521DD1D3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1.922" v="11"/>
          <ac:spMkLst>
            <pc:docMk/>
            <pc:sldMk cId="2616071266" sldId="863"/>
            <ac:spMk id="41" creationId="{6EEBF41C-C731-4DB8-CFE9-8C79A17A9093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2" v="12"/>
          <ac:spMkLst>
            <pc:docMk/>
            <pc:sldMk cId="2616071266" sldId="863"/>
            <ac:spMk id="42" creationId="{A3D81BB0-E0CA-661B-B105-219E9D70E372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1.797" v="9"/>
          <ac:spMkLst>
            <pc:docMk/>
            <pc:sldMk cId="2616071266" sldId="863"/>
            <ac:spMk id="43" creationId="{FE8A138E-A6A6-ABE6-0D86-1A98A294254F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1.859" v="10"/>
          <ac:spMkLst>
            <pc:docMk/>
            <pc:sldMk cId="2616071266" sldId="863"/>
            <ac:spMk id="44" creationId="{9938FFE6-FB70-A92C-5E56-5D30C540926F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1.672" v="7"/>
          <ac:spMkLst>
            <pc:docMk/>
            <pc:sldMk cId="2616071266" sldId="863"/>
            <ac:spMk id="45" creationId="{06D405CE-FB05-FAA2-88C5-0741C7AE3FA8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1.734" v="8"/>
          <ac:spMkLst>
            <pc:docMk/>
            <pc:sldMk cId="2616071266" sldId="863"/>
            <ac:spMk id="46" creationId="{9A53C300-2B67-3C87-3B07-9136C7350472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3.517" v="41"/>
          <ac:spMkLst>
            <pc:docMk/>
            <pc:sldMk cId="2616071266" sldId="863"/>
            <ac:spMk id="48" creationId="{A1845571-50B3-5842-B49A-39B96E8EBEED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3.562" v="43"/>
          <ac:spMkLst>
            <pc:docMk/>
            <pc:sldMk cId="2616071266" sldId="863"/>
            <ac:spMk id="49" creationId="{3DA5D461-B352-ED36-F24B-547BF405E0BC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1:23.531" v="42"/>
          <ac:spMkLst>
            <pc:docMk/>
            <pc:sldMk cId="2616071266" sldId="863"/>
            <ac:spMk id="50" creationId="{0A5DCEEC-8124-0087-BE88-ED4340DAEB2C}"/>
          </ac:spMkLst>
        </pc:spChg>
        <pc:grpChg chg="mod">
          <ac:chgData name="Kiela Karina Moreno" userId="S::mpg7143@ads.northwestern.edu::1e897b35-0dd4-497a-9ab7-7a37e6c39d5b" providerId="AD" clId="Web-{534DCEDE-8C86-30AD-73CE-07D27B6D228F}" dt="2024-02-07T20:42:13.080" v="52" actId="1076"/>
          <ac:grpSpMkLst>
            <pc:docMk/>
            <pc:sldMk cId="2616071266" sldId="863"/>
            <ac:grpSpMk id="6" creationId="{3CAAB623-AB39-F2EA-2795-C660DE99A638}"/>
          </ac:grpSpMkLst>
        </pc:grpChg>
        <pc:grpChg chg="mod">
          <ac:chgData name="Kiela Karina Moreno" userId="S::mpg7143@ads.northwestern.edu::1e897b35-0dd4-497a-9ab7-7a37e6c39d5b" providerId="AD" clId="Web-{534DCEDE-8C86-30AD-73CE-07D27B6D228F}" dt="2024-02-07T20:42:13.111" v="53" actId="1076"/>
          <ac:grpSpMkLst>
            <pc:docMk/>
            <pc:sldMk cId="2616071266" sldId="863"/>
            <ac:grpSpMk id="7" creationId="{F52B056E-8504-09C9-7FD3-CE403C19BE97}"/>
          </ac:grpSpMkLst>
        </pc:grpChg>
        <pc:grpChg chg="mod">
          <ac:chgData name="Kiela Karina Moreno" userId="S::mpg7143@ads.northwestern.edu::1e897b35-0dd4-497a-9ab7-7a37e6c39d5b" providerId="AD" clId="Web-{534DCEDE-8C86-30AD-73CE-07D27B6D228F}" dt="2024-02-07T20:43:22.567" v="69" actId="1076"/>
          <ac:grpSpMkLst>
            <pc:docMk/>
            <pc:sldMk cId="2616071266" sldId="863"/>
            <ac:grpSpMk id="9" creationId="{2F8A0414-D415-4E5E-4126-157F4F5CD932}"/>
          </ac:grpSpMkLst>
        </pc:grpChg>
        <pc:grpChg chg="mod">
          <ac:chgData name="Kiela Karina Moreno" userId="S::mpg7143@ads.northwestern.edu::1e897b35-0dd4-497a-9ab7-7a37e6c39d5b" providerId="AD" clId="Web-{534DCEDE-8C86-30AD-73CE-07D27B6D228F}" dt="2024-02-07T20:43:09.348" v="65" actId="1076"/>
          <ac:grpSpMkLst>
            <pc:docMk/>
            <pc:sldMk cId="2616071266" sldId="863"/>
            <ac:grpSpMk id="11" creationId="{9006263E-2644-39A7-EFCF-E4CF3377324E}"/>
          </ac:grpSpMkLst>
        </pc:grpChg>
      </pc:sldChg>
      <pc:sldChg chg="modSp">
        <pc:chgData name="Kiela Karina Moreno" userId="S::mpg7143@ads.northwestern.edu::1e897b35-0dd4-497a-9ab7-7a37e6c39d5b" providerId="AD" clId="Web-{534DCEDE-8C86-30AD-73CE-07D27B6D228F}" dt="2024-02-07T20:44:14.647" v="75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534DCEDE-8C86-30AD-73CE-07D27B6D228F}" dt="2024-02-07T20:43:44.130" v="71" actId="20577"/>
          <ac:spMkLst>
            <pc:docMk/>
            <pc:sldMk cId="1914631794" sldId="866"/>
            <ac:spMk id="2" creationId="{B8576EA4-3DF4-E9A6-5CD8-6AB4F95F4CBD}"/>
          </ac:spMkLst>
        </pc:spChg>
        <pc:spChg chg="mod">
          <ac:chgData name="Kiela Karina Moreno" userId="S::mpg7143@ads.northwestern.edu::1e897b35-0dd4-497a-9ab7-7a37e6c39d5b" providerId="AD" clId="Web-{534DCEDE-8C86-30AD-73CE-07D27B6D228F}" dt="2024-02-07T20:44:14.647" v="75"/>
          <ac:spMkLst>
            <pc:docMk/>
            <pc:sldMk cId="1914631794" sldId="866"/>
            <ac:spMk id="8" creationId="{E47F76B0-6B6E-EEFB-EB7C-CF553EF99CB9}"/>
          </ac:spMkLst>
        </pc:spChg>
      </pc:sldChg>
    </pc:docChg>
  </pc:docChgLst>
  <pc:docChgLst>
    <pc:chgData name="Kiela Karina Moreno" userId="S::mpg7143@ads.northwestern.edu::1e897b35-0dd4-497a-9ab7-7a37e6c39d5b" providerId="AD" clId="Web-{17382AE7-4E34-BC78-555B-076CB91C9F94}"/>
    <pc:docChg chg="modSld">
      <pc:chgData name="Kiela Karina Moreno" userId="S::mpg7143@ads.northwestern.edu::1e897b35-0dd4-497a-9ab7-7a37e6c39d5b" providerId="AD" clId="Web-{17382AE7-4E34-BC78-555B-076CB91C9F94}" dt="2024-02-19T14:05:18.611" v="1" actId="14100"/>
      <pc:docMkLst>
        <pc:docMk/>
      </pc:docMkLst>
      <pc:sldChg chg="modCm">
        <pc:chgData name="Kiela Karina Moreno" userId="S::mpg7143@ads.northwestern.edu::1e897b35-0dd4-497a-9ab7-7a37e6c39d5b" providerId="AD" clId="Web-{17382AE7-4E34-BC78-555B-076CB91C9F94}" dt="2024-02-19T14:03:57.546" v="0"/>
        <pc:sldMkLst>
          <pc:docMk/>
          <pc:sldMk cId="1549817843" sldId="8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iela Karina Moreno" userId="S::mpg7143@ads.northwestern.edu::1e897b35-0dd4-497a-9ab7-7a37e6c39d5b" providerId="AD" clId="Web-{17382AE7-4E34-BC78-555B-076CB91C9F94}" dt="2024-02-19T14:03:57.546" v="0"/>
              <pc2:cmMkLst xmlns:pc2="http://schemas.microsoft.com/office/powerpoint/2019/9/main/command">
                <pc:docMk/>
                <pc:sldMk cId="1549817843" sldId="859"/>
                <pc2:cmMk id="{871CD6B5-C642-41C2-994D-168230D8AF95}"/>
              </pc2:cmMkLst>
            </pc226:cmChg>
          </p:ext>
        </pc:extLst>
      </pc:sldChg>
      <pc:sldChg chg="modSp">
        <pc:chgData name="Kiela Karina Moreno" userId="S::mpg7143@ads.northwestern.edu::1e897b35-0dd4-497a-9ab7-7a37e6c39d5b" providerId="AD" clId="Web-{17382AE7-4E34-BC78-555B-076CB91C9F94}" dt="2024-02-19T14:05:18.611" v="1" actId="14100"/>
        <pc:sldMkLst>
          <pc:docMk/>
          <pc:sldMk cId="2380553176" sldId="903"/>
        </pc:sldMkLst>
        <pc:picChg chg="mod">
          <ac:chgData name="Kiela Karina Moreno" userId="S::mpg7143@ads.northwestern.edu::1e897b35-0dd4-497a-9ab7-7a37e6c39d5b" providerId="AD" clId="Web-{17382AE7-4E34-BC78-555B-076CB91C9F94}" dt="2024-02-19T14:05:18.611" v="1" actId="14100"/>
          <ac:picMkLst>
            <pc:docMk/>
            <pc:sldMk cId="2380553176" sldId="903"/>
            <ac:picMk id="12" creationId="{4FA39598-7430-06A6-C907-0C4F93E0FA7C}"/>
          </ac:picMkLst>
        </pc:picChg>
      </pc:sldChg>
    </pc:docChg>
  </pc:docChgLst>
  <pc:docChgLst>
    <pc:chgData name="Kiela Karina Moreno" userId="S::mpg7143@ads.northwestern.edu::1e897b35-0dd4-497a-9ab7-7a37e6c39d5b" providerId="AD" clId="Web-{4BABADCB-C4D4-2101-74DA-F9FF95648C3E}"/>
    <pc:docChg chg="">
      <pc:chgData name="Kiela Karina Moreno" userId="S::mpg7143@ads.northwestern.edu::1e897b35-0dd4-497a-9ab7-7a37e6c39d5b" providerId="AD" clId="Web-{4BABADCB-C4D4-2101-74DA-F9FF95648C3E}" dt="2024-02-19T16:52:12.831" v="0"/>
      <pc:docMkLst>
        <pc:docMk/>
      </pc:docMkLst>
      <pc:sldChg chg="modCm">
        <pc:chgData name="Kiela Karina Moreno" userId="S::mpg7143@ads.northwestern.edu::1e897b35-0dd4-497a-9ab7-7a37e6c39d5b" providerId="AD" clId="Web-{4BABADCB-C4D4-2101-74DA-F9FF95648C3E}" dt="2024-02-19T16:52:12.831" v="0"/>
        <pc:sldMkLst>
          <pc:docMk/>
          <pc:sldMk cId="1549817843" sldId="8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iela Karina Moreno" userId="S::mpg7143@ads.northwestern.edu::1e897b35-0dd4-497a-9ab7-7a37e6c39d5b" providerId="AD" clId="Web-{4BABADCB-C4D4-2101-74DA-F9FF95648C3E}" dt="2024-02-19T16:52:12.831" v="0"/>
              <pc2:cmMkLst xmlns:pc2="http://schemas.microsoft.com/office/powerpoint/2019/9/main/command">
                <pc:docMk/>
                <pc:sldMk cId="1549817843" sldId="859"/>
                <pc2:cmMk id="{5FCFC664-3D67-4394-B678-64E69722E1D3}"/>
              </pc2:cmMkLst>
            </pc226:cmChg>
          </p:ext>
        </pc:extLst>
      </pc:sldChg>
    </pc:docChg>
  </pc:docChgLst>
  <pc:docChgLst>
    <pc:chgData name="Kiela Karina Moreno" userId="S::mpg7143@ads.northwestern.edu::1e897b35-0dd4-497a-9ab7-7a37e6c39d5b" providerId="AD" clId="Web-{F88C9E9B-DA26-F68F-F253-DAEDC13F9025}"/>
    <pc:docChg chg="addSld delSld modSld sldOrd">
      <pc:chgData name="Kiela Karina Moreno" userId="S::mpg7143@ads.northwestern.edu::1e897b35-0dd4-497a-9ab7-7a37e6c39d5b" providerId="AD" clId="Web-{F88C9E9B-DA26-F68F-F253-DAEDC13F9025}" dt="2024-02-06T22:00:46.745" v="349" actId="1076"/>
      <pc:docMkLst>
        <pc:docMk/>
      </pc:docMkLst>
      <pc:sldChg chg="modSp">
        <pc:chgData name="Kiela Karina Moreno" userId="S::mpg7143@ads.northwestern.edu::1e897b35-0dd4-497a-9ab7-7a37e6c39d5b" providerId="AD" clId="Web-{F88C9E9B-DA26-F68F-F253-DAEDC13F9025}" dt="2024-02-06T21:19:25.710" v="84" actId="1076"/>
        <pc:sldMkLst>
          <pc:docMk/>
          <pc:sldMk cId="3127921386" sldId="280"/>
        </pc:sldMkLst>
        <pc:spChg chg="mod">
          <ac:chgData name="Kiela Karina Moreno" userId="S::mpg7143@ads.northwestern.edu::1e897b35-0dd4-497a-9ab7-7a37e6c39d5b" providerId="AD" clId="Web-{F88C9E9B-DA26-F68F-F253-DAEDC13F9025}" dt="2024-02-06T21:19:25.710" v="84" actId="1076"/>
          <ac:spMkLst>
            <pc:docMk/>
            <pc:sldMk cId="3127921386" sldId="280"/>
            <ac:spMk id="3" creationId="{1D742501-F937-8041-84E5-748F96AE991B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19:10.897" v="81" actId="1076"/>
          <ac:spMkLst>
            <pc:docMk/>
            <pc:sldMk cId="3127921386" sldId="280"/>
            <ac:spMk id="9" creationId="{7F20A429-9947-F447-2DF2-A5C17B5C6EC1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21:51.151" v="89" actId="20577"/>
        <pc:sldMkLst>
          <pc:docMk/>
          <pc:sldMk cId="4044691067" sldId="283"/>
        </pc:sldMkLst>
        <pc:spChg chg="mod">
          <ac:chgData name="Kiela Karina Moreno" userId="S::mpg7143@ads.northwestern.edu::1e897b35-0dd4-497a-9ab7-7a37e6c39d5b" providerId="AD" clId="Web-{F88C9E9B-DA26-F68F-F253-DAEDC13F9025}" dt="2024-02-06T21:21:51.151" v="89" actId="20577"/>
          <ac:spMkLst>
            <pc:docMk/>
            <pc:sldMk cId="4044691067" sldId="283"/>
            <ac:spMk id="4" creationId="{8B9DA9E4-8E57-D07F-2A71-1A5B61A0FBE2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19:43.054" v="88" actId="20577"/>
          <ac:spMkLst>
            <pc:docMk/>
            <pc:sldMk cId="4044691067" sldId="283"/>
            <ac:spMk id="5" creationId="{F0B2A739-51C3-9CBF-7F6C-3EE69AAB6035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19:38.226" v="87" actId="20577"/>
          <ac:spMkLst>
            <pc:docMk/>
            <pc:sldMk cId="4044691067" sldId="283"/>
            <ac:spMk id="16386" creationId="{00000000-0000-0000-0000-000000000000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39:46.977" v="297" actId="20577"/>
        <pc:sldMkLst>
          <pc:docMk/>
          <pc:sldMk cId="1234199256" sldId="289"/>
        </pc:sldMkLst>
        <pc:spChg chg="mod">
          <ac:chgData name="Kiela Karina Moreno" userId="S::mpg7143@ads.northwestern.edu::1e897b35-0dd4-497a-9ab7-7a37e6c39d5b" providerId="AD" clId="Web-{F88C9E9B-DA26-F68F-F253-DAEDC13F9025}" dt="2024-02-06T21:39:32.180" v="294" actId="1076"/>
          <ac:spMkLst>
            <pc:docMk/>
            <pc:sldMk cId="1234199256" sldId="289"/>
            <ac:spMk id="2" creationId="{4750E6DC-BCB6-7021-74E4-A553695C7B5E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9:35.618" v="295"/>
          <ac:spMkLst>
            <pc:docMk/>
            <pc:sldMk cId="1234199256" sldId="289"/>
            <ac:spMk id="5" creationId="{C6B0E1BB-D0B5-7D22-2E3B-1C4FE9EB1BDD}"/>
          </ac:spMkLst>
        </pc:spChg>
        <pc:graphicFrameChg chg="modGraphic">
          <ac:chgData name="Kiela Karina Moreno" userId="S::mpg7143@ads.northwestern.edu::1e897b35-0dd4-497a-9ab7-7a37e6c39d5b" providerId="AD" clId="Web-{F88C9E9B-DA26-F68F-F253-DAEDC13F9025}" dt="2024-02-06T21:39:46.977" v="297" actId="20577"/>
          <ac:graphicFrameMkLst>
            <pc:docMk/>
            <pc:sldMk cId="1234199256" sldId="289"/>
            <ac:graphicFrameMk id="7" creationId="{D6C0E3B9-AD38-3062-92BA-93FBC89260BC}"/>
          </ac:graphicFrameMkLst>
        </pc:graphicFrameChg>
      </pc:sldChg>
      <pc:sldChg chg="modSp">
        <pc:chgData name="Kiela Karina Moreno" userId="S::mpg7143@ads.northwestern.edu::1e897b35-0dd4-497a-9ab7-7a37e6c39d5b" providerId="AD" clId="Web-{F88C9E9B-DA26-F68F-F253-DAEDC13F9025}" dt="2024-02-06T21:23:13.872" v="109" actId="20577"/>
        <pc:sldMkLst>
          <pc:docMk/>
          <pc:sldMk cId="1141813547" sldId="737"/>
        </pc:sldMkLst>
        <pc:spChg chg="mod">
          <ac:chgData name="Kiela Karina Moreno" userId="S::mpg7143@ads.northwestern.edu::1e897b35-0dd4-497a-9ab7-7a37e6c39d5b" providerId="AD" clId="Web-{F88C9E9B-DA26-F68F-F253-DAEDC13F9025}" dt="2024-02-06T21:22:47.543" v="97" actId="20577"/>
          <ac:spMkLst>
            <pc:docMk/>
            <pc:sldMk cId="1141813547" sldId="737"/>
            <ac:spMk id="12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2:50.028" v="99" actId="20577"/>
          <ac:spMkLst>
            <pc:docMk/>
            <pc:sldMk cId="1141813547" sldId="737"/>
            <ac:spMk id="13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2:53.653" v="101" actId="20577"/>
          <ac:spMkLst>
            <pc:docMk/>
            <pc:sldMk cId="1141813547" sldId="737"/>
            <ac:spMk id="14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2:12.667" v="91"/>
          <ac:spMkLst>
            <pc:docMk/>
            <pc:sldMk cId="1141813547" sldId="737"/>
            <ac:spMk id="15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2:22.574" v="92"/>
          <ac:spMkLst>
            <pc:docMk/>
            <pc:sldMk cId="1141813547" sldId="737"/>
            <ac:spMk id="16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2:28.137" v="93"/>
          <ac:spMkLst>
            <pc:docMk/>
            <pc:sldMk cId="1141813547" sldId="737"/>
            <ac:spMk id="17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2:58.466" v="103" actId="20577"/>
          <ac:spMkLst>
            <pc:docMk/>
            <pc:sldMk cId="1141813547" sldId="737"/>
            <ac:spMk id="18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3:13.872" v="109" actId="20577"/>
          <ac:spMkLst>
            <pc:docMk/>
            <pc:sldMk cId="1141813547" sldId="737"/>
            <ac:spMk id="19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2:38.215" v="95"/>
          <ac:spMkLst>
            <pc:docMk/>
            <pc:sldMk cId="1141813547" sldId="737"/>
            <ac:spMk id="20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2:32.527" v="94"/>
          <ac:spMkLst>
            <pc:docMk/>
            <pc:sldMk cId="1141813547" sldId="737"/>
            <ac:spMk id="21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2:03.480" v="90"/>
          <ac:spMkLst>
            <pc:docMk/>
            <pc:sldMk cId="1141813547" sldId="737"/>
            <ac:spMk id="29" creationId="{F497B51E-B23E-81E6-6EEC-C84EF82FCD34}"/>
          </ac:spMkLst>
        </pc:spChg>
      </pc:sldChg>
      <pc:sldChg chg="modSp add ord">
        <pc:chgData name="Kiela Karina Moreno" userId="S::mpg7143@ads.northwestern.edu::1e897b35-0dd4-497a-9ab7-7a37e6c39d5b" providerId="AD" clId="Web-{F88C9E9B-DA26-F68F-F253-DAEDC13F9025}" dt="2024-02-06T21:46:34.738" v="333" actId="1076"/>
        <pc:sldMkLst>
          <pc:docMk/>
          <pc:sldMk cId="2688480143" sldId="821"/>
        </pc:sldMkLst>
        <pc:spChg chg="mod">
          <ac:chgData name="Kiela Karina Moreno" userId="S::mpg7143@ads.northwestern.edu::1e897b35-0dd4-497a-9ab7-7a37e6c39d5b" providerId="AD" clId="Web-{F88C9E9B-DA26-F68F-F253-DAEDC13F9025}" dt="2024-02-06T21:46:34.738" v="333" actId="1076"/>
          <ac:spMkLst>
            <pc:docMk/>
            <pc:sldMk cId="2688480143" sldId="821"/>
            <ac:spMk id="4" creationId="{8F22AABC-2FAE-C746-BE44-74BD0DF24816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0:02.836" v="189" actId="20577"/>
          <ac:spMkLst>
            <pc:docMk/>
            <pc:sldMk cId="2688480143" sldId="821"/>
            <ac:spMk id="12690" creationId="{00000000-0000-0000-0000-000000000000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26:59.988" v="165" actId="1076"/>
        <pc:sldMkLst>
          <pc:docMk/>
          <pc:sldMk cId="1617559145" sldId="825"/>
        </pc:sldMkLst>
        <pc:spChg chg="mod">
          <ac:chgData name="Kiela Karina Moreno" userId="S::mpg7143@ads.northwestern.edu::1e897b35-0dd4-497a-9ab7-7a37e6c39d5b" providerId="AD" clId="Web-{F88C9E9B-DA26-F68F-F253-DAEDC13F9025}" dt="2024-02-06T21:26:26.987" v="153" actId="1076"/>
          <ac:spMkLst>
            <pc:docMk/>
            <pc:sldMk cId="1617559145" sldId="825"/>
            <ac:spMk id="2" creationId="{BB53F377-28A9-F2D5-76A8-8CDE2A9E7535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6:44.675" v="159" actId="1076"/>
          <ac:spMkLst>
            <pc:docMk/>
            <pc:sldMk cId="1617559145" sldId="825"/>
            <ac:spMk id="6" creationId="{F6338EC5-0A81-7DC2-69F0-D3BF4953F92A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6:59.988" v="165" actId="1076"/>
          <ac:spMkLst>
            <pc:docMk/>
            <pc:sldMk cId="1617559145" sldId="825"/>
            <ac:spMk id="7" creationId="{3AA2C132-6976-52A2-A4F0-D81D09CBB1EA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26:13.252" v="150" actId="20577"/>
        <pc:sldMkLst>
          <pc:docMk/>
          <pc:sldMk cId="3419957415" sldId="829"/>
        </pc:sldMkLst>
        <pc:spChg chg="mod">
          <ac:chgData name="Kiela Karina Moreno" userId="S::mpg7143@ads.northwestern.edu::1e897b35-0dd4-497a-9ab7-7a37e6c39d5b" providerId="AD" clId="Web-{F88C9E9B-DA26-F68F-F253-DAEDC13F9025}" dt="2024-02-06T21:26:13.252" v="150" actId="20577"/>
          <ac:spMkLst>
            <pc:docMk/>
            <pc:sldMk cId="3419957415" sldId="829"/>
            <ac:spMk id="34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5:33.063" v="142" actId="20577"/>
          <ac:spMkLst>
            <pc:docMk/>
            <pc:sldMk cId="3419957415" sldId="829"/>
            <ac:spMk id="51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5:41.220" v="143" actId="20577"/>
          <ac:spMkLst>
            <pc:docMk/>
            <pc:sldMk cId="3419957415" sldId="829"/>
            <ac:spMk id="52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6:08.783" v="149" actId="20577"/>
          <ac:spMkLst>
            <pc:docMk/>
            <pc:sldMk cId="3419957415" sldId="829"/>
            <ac:spMk id="55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5:52.064" v="145" actId="1076"/>
          <ac:spMkLst>
            <pc:docMk/>
            <pc:sldMk cId="3419957415" sldId="829"/>
            <ac:spMk id="65" creationId="{28CD4543-B35F-C7BE-C5DB-7DF0067C551A}"/>
          </ac:spMkLst>
        </pc:spChg>
      </pc:sldChg>
      <pc:sldChg chg="addSp delSp modSp">
        <pc:chgData name="Kiela Karina Moreno" userId="S::mpg7143@ads.northwestern.edu::1e897b35-0dd4-497a-9ab7-7a37e6c39d5b" providerId="AD" clId="Web-{F88C9E9B-DA26-F68F-F253-DAEDC13F9025}" dt="2024-02-06T21:41:35.824" v="318" actId="1076"/>
        <pc:sldMkLst>
          <pc:docMk/>
          <pc:sldMk cId="4099246298" sldId="830"/>
        </pc:sldMkLst>
        <pc:spChg chg="mod">
          <ac:chgData name="Kiela Karina Moreno" userId="S::mpg7143@ads.northwestern.edu::1e897b35-0dd4-497a-9ab7-7a37e6c39d5b" providerId="AD" clId="Web-{F88C9E9B-DA26-F68F-F253-DAEDC13F9025}" dt="2024-02-06T21:37:51.161" v="258" actId="14100"/>
          <ac:spMkLst>
            <pc:docMk/>
            <pc:sldMk cId="4099246298" sldId="830"/>
            <ac:spMk id="2" creationId="{EE99E557-0E3A-FE44-7651-9B517AB7FE25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41:35.824" v="318" actId="1076"/>
          <ac:spMkLst>
            <pc:docMk/>
            <pc:sldMk cId="4099246298" sldId="830"/>
            <ac:spMk id="3" creationId="{CF9BF4C4-C441-4125-0D36-AFACCDDD6450}"/>
          </ac:spMkLst>
        </pc:spChg>
        <pc:spChg chg="add del">
          <ac:chgData name="Kiela Karina Moreno" userId="S::mpg7143@ads.northwestern.edu::1e897b35-0dd4-497a-9ab7-7a37e6c39d5b" providerId="AD" clId="Web-{F88C9E9B-DA26-F68F-F253-DAEDC13F9025}" dt="2024-02-06T21:37:54.911" v="261"/>
          <ac:spMkLst>
            <pc:docMk/>
            <pc:sldMk cId="4099246298" sldId="830"/>
            <ac:spMk id="4" creationId="{E7BFDFA8-EF62-609A-BBFC-D21B6181BE1C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41:15.854" v="313" actId="20577"/>
          <ac:spMkLst>
            <pc:docMk/>
            <pc:sldMk cId="4099246298" sldId="830"/>
            <ac:spMk id="7" creationId="{5C4018D8-81AF-36D5-48D9-B4ABF5C0928D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41:26.323" v="316" actId="1076"/>
          <ac:spMkLst>
            <pc:docMk/>
            <pc:sldMk cId="4099246298" sldId="830"/>
            <ac:spMk id="11" creationId="{BE8384DB-3B7E-A4D4-BD88-95948D959E6B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40:13.993" v="301" actId="20577"/>
        <pc:sldMkLst>
          <pc:docMk/>
          <pc:sldMk cId="1383153618" sldId="832"/>
        </pc:sldMkLst>
        <pc:spChg chg="mod">
          <ac:chgData name="Kiela Karina Moreno" userId="S::mpg7143@ads.northwestern.edu::1e897b35-0dd4-497a-9ab7-7a37e6c39d5b" providerId="AD" clId="Web-{F88C9E9B-DA26-F68F-F253-DAEDC13F9025}" dt="2024-02-06T21:40:13.993" v="301" actId="20577"/>
          <ac:spMkLst>
            <pc:docMk/>
            <pc:sldMk cId="1383153618" sldId="832"/>
            <ac:spMk id="2" creationId="{1ADE3F33-C3B5-E055-DCEE-2F9C85028D71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40:03.227" v="298" actId="20577"/>
          <ac:spMkLst>
            <pc:docMk/>
            <pc:sldMk cId="1383153618" sldId="832"/>
            <ac:spMk id="3" creationId="{A8FB859F-8E0E-956F-2CC7-6B79360725AD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43:53.171" v="328"/>
        <pc:sldMkLst>
          <pc:docMk/>
          <pc:sldMk cId="2701760186" sldId="833"/>
        </pc:sldMkLst>
        <pc:spChg chg="mod">
          <ac:chgData name="Kiela Karina Moreno" userId="S::mpg7143@ads.northwestern.edu::1e897b35-0dd4-497a-9ab7-7a37e6c39d5b" providerId="AD" clId="Web-{F88C9E9B-DA26-F68F-F253-DAEDC13F9025}" dt="2024-02-06T21:43:46.562" v="327" actId="20577"/>
          <ac:spMkLst>
            <pc:docMk/>
            <pc:sldMk cId="2701760186" sldId="833"/>
            <ac:spMk id="2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43:53.171" v="328"/>
          <ac:spMkLst>
            <pc:docMk/>
            <pc:sldMk cId="2701760186" sldId="833"/>
            <ac:spMk id="17" creationId="{7BC6E56A-CF12-B196-067F-25EE24D1BADF}"/>
          </ac:spMkLst>
        </pc:spChg>
        <pc:graphicFrameChg chg="mod modGraphic">
          <ac:chgData name="Kiela Karina Moreno" userId="S::mpg7143@ads.northwestern.edu::1e897b35-0dd4-497a-9ab7-7a37e6c39d5b" providerId="AD" clId="Web-{F88C9E9B-DA26-F68F-F253-DAEDC13F9025}" dt="2024-02-06T21:43:37.030" v="326" actId="1076"/>
          <ac:graphicFrameMkLst>
            <pc:docMk/>
            <pc:sldMk cId="2701760186" sldId="833"/>
            <ac:graphicFrameMk id="7" creationId="{D93EF601-CA84-ECB1-08DF-C8BAEC274FE9}"/>
          </ac:graphicFrameMkLst>
        </pc:graphicFrameChg>
      </pc:sldChg>
      <pc:sldChg chg="modSp">
        <pc:chgData name="Kiela Karina Moreno" userId="S::mpg7143@ads.northwestern.edu::1e897b35-0dd4-497a-9ab7-7a37e6c39d5b" providerId="AD" clId="Web-{F88C9E9B-DA26-F68F-F253-DAEDC13F9025}" dt="2024-02-06T21:23:49.545" v="118"/>
        <pc:sldMkLst>
          <pc:docMk/>
          <pc:sldMk cId="3117634655" sldId="845"/>
        </pc:sldMkLst>
        <pc:spChg chg="mod">
          <ac:chgData name="Kiela Karina Moreno" userId="S::mpg7143@ads.northwestern.edu::1e897b35-0dd4-497a-9ab7-7a37e6c39d5b" providerId="AD" clId="Web-{F88C9E9B-DA26-F68F-F253-DAEDC13F9025}" dt="2024-02-06T21:23:40.857" v="111"/>
          <ac:spMkLst>
            <pc:docMk/>
            <pc:sldMk cId="3117634655" sldId="845"/>
            <ac:spMk id="2" creationId="{875610D5-0922-E3FB-2E32-5E2628A0D3BB}"/>
          </ac:spMkLst>
        </pc:spChg>
        <pc:graphicFrameChg chg="mod modGraphic">
          <ac:chgData name="Kiela Karina Moreno" userId="S::mpg7143@ads.northwestern.edu::1e897b35-0dd4-497a-9ab7-7a37e6c39d5b" providerId="AD" clId="Web-{F88C9E9B-DA26-F68F-F253-DAEDC13F9025}" dt="2024-02-06T21:23:49.545" v="118"/>
          <ac:graphicFrameMkLst>
            <pc:docMk/>
            <pc:sldMk cId="3117634655" sldId="845"/>
            <ac:graphicFrameMk id="6" creationId="{3349F207-60F4-234D-4729-00A6824BBB25}"/>
          </ac:graphicFrameMkLst>
        </pc:graphicFrameChg>
      </pc:sldChg>
      <pc:sldChg chg="modSp">
        <pc:chgData name="Kiela Karina Moreno" userId="S::mpg7143@ads.northwestern.edu::1e897b35-0dd4-497a-9ab7-7a37e6c39d5b" providerId="AD" clId="Web-{F88C9E9B-DA26-F68F-F253-DAEDC13F9025}" dt="2024-02-06T21:39:21.086" v="292" actId="20577"/>
        <pc:sldMkLst>
          <pc:docMk/>
          <pc:sldMk cId="1663322964" sldId="846"/>
        </pc:sldMkLst>
        <pc:spChg chg="mod">
          <ac:chgData name="Kiela Karina Moreno" userId="S::mpg7143@ads.northwestern.edu::1e897b35-0dd4-497a-9ab7-7a37e6c39d5b" providerId="AD" clId="Web-{F88C9E9B-DA26-F68F-F253-DAEDC13F9025}" dt="2024-02-06T21:39:10.788" v="290" actId="1076"/>
          <ac:spMkLst>
            <pc:docMk/>
            <pc:sldMk cId="1663322964" sldId="846"/>
            <ac:spMk id="2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8:52.241" v="287"/>
          <ac:spMkLst>
            <pc:docMk/>
            <pc:sldMk cId="1663322964" sldId="846"/>
            <ac:spMk id="4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8:52.272" v="288"/>
          <ac:spMkLst>
            <pc:docMk/>
            <pc:sldMk cId="1663322964" sldId="846"/>
            <ac:spMk id="83" creationId="{E8B0A7CF-C775-569B-5D28-11D12EF0B006}"/>
          </ac:spMkLst>
        </pc:spChg>
        <pc:graphicFrameChg chg="modGraphic">
          <ac:chgData name="Kiela Karina Moreno" userId="S::mpg7143@ads.northwestern.edu::1e897b35-0dd4-497a-9ab7-7a37e6c39d5b" providerId="AD" clId="Web-{F88C9E9B-DA26-F68F-F253-DAEDC13F9025}" dt="2024-02-06T21:39:21.086" v="292" actId="20577"/>
          <ac:graphicFrameMkLst>
            <pc:docMk/>
            <pc:sldMk cId="1663322964" sldId="846"/>
            <ac:graphicFrameMk id="17" creationId="{9B647FFD-DB92-0E72-0606-A89EC41A7F93}"/>
          </ac:graphicFrameMkLst>
        </pc:graphicFrameChg>
      </pc:sldChg>
      <pc:sldChg chg="modSp">
        <pc:chgData name="Kiela Karina Moreno" userId="S::mpg7143@ads.northwestern.edu::1e897b35-0dd4-497a-9ab7-7a37e6c39d5b" providerId="AD" clId="Web-{F88C9E9B-DA26-F68F-F253-DAEDC13F9025}" dt="2024-02-06T21:40:18.275" v="302" actId="20577"/>
        <pc:sldMkLst>
          <pc:docMk/>
          <pc:sldMk cId="1341783838" sldId="848"/>
        </pc:sldMkLst>
        <pc:spChg chg="mod">
          <ac:chgData name="Kiela Karina Moreno" userId="S::mpg7143@ads.northwestern.edu::1e897b35-0dd4-497a-9ab7-7a37e6c39d5b" providerId="AD" clId="Web-{F88C9E9B-DA26-F68F-F253-DAEDC13F9025}" dt="2024-02-06T21:40:18.275" v="302" actId="20577"/>
          <ac:spMkLst>
            <pc:docMk/>
            <pc:sldMk cId="1341783838" sldId="848"/>
            <ac:spMk id="2" creationId="{304FC3E6-8E03-4AD0-DC5A-624DF52B6ED0}"/>
          </ac:spMkLst>
        </pc:spChg>
      </pc:sldChg>
      <pc:sldChg chg="modSp add">
        <pc:chgData name="Kiela Karina Moreno" userId="S::mpg7143@ads.northwestern.edu::1e897b35-0dd4-497a-9ab7-7a37e6c39d5b" providerId="AD" clId="Web-{F88C9E9B-DA26-F68F-F253-DAEDC13F9025}" dt="2024-02-06T21:42:55.623" v="322" actId="1076"/>
        <pc:sldMkLst>
          <pc:docMk/>
          <pc:sldMk cId="777023516" sldId="851"/>
        </pc:sldMkLst>
        <pc:spChg chg="mod">
          <ac:chgData name="Kiela Karina Moreno" userId="S::mpg7143@ads.northwestern.edu::1e897b35-0dd4-497a-9ab7-7a37e6c39d5b" providerId="AD" clId="Web-{F88C9E9B-DA26-F68F-F253-DAEDC13F9025}" dt="2024-02-06T21:42:55.623" v="322" actId="1076"/>
          <ac:spMkLst>
            <pc:docMk/>
            <pc:sldMk cId="777023516" sldId="851"/>
            <ac:spMk id="2" creationId="{9E8CD4B7-18A7-76E3-2CBA-3647A32E0C12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42:40.919" v="320" actId="20577"/>
          <ac:spMkLst>
            <pc:docMk/>
            <pc:sldMk cId="777023516" sldId="851"/>
            <ac:spMk id="3" creationId="{A068D812-8336-152D-B896-A021E583E31E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23:25.591" v="110" actId="20577"/>
        <pc:sldMkLst>
          <pc:docMk/>
          <pc:sldMk cId="2978648129" sldId="852"/>
        </pc:sldMkLst>
        <pc:spChg chg="mod">
          <ac:chgData name="Kiela Karina Moreno" userId="S::mpg7143@ads.northwestern.edu::1e897b35-0dd4-497a-9ab7-7a37e6c39d5b" providerId="AD" clId="Web-{F88C9E9B-DA26-F68F-F253-DAEDC13F9025}" dt="2024-02-06T21:23:25.591" v="110" actId="20577"/>
          <ac:spMkLst>
            <pc:docMk/>
            <pc:sldMk cId="2978648129" sldId="852"/>
            <ac:spMk id="12729" creationId="{00000000-0000-0000-0000-000000000000}"/>
          </ac:spMkLst>
        </pc:spChg>
        <pc:picChg chg="mod">
          <ac:chgData name="Kiela Karina Moreno" userId="S::mpg7143@ads.northwestern.edu::1e897b35-0dd4-497a-9ab7-7a37e6c39d5b" providerId="AD" clId="Web-{F88C9E9B-DA26-F68F-F253-DAEDC13F9025}" dt="2024-02-06T21:23:13.153" v="107" actId="1076"/>
          <ac:picMkLst>
            <pc:docMk/>
            <pc:sldMk cId="2978648129" sldId="852"/>
            <ac:picMk id="12731" creationId="{00000000-0000-0000-0000-000000000000}"/>
          </ac:picMkLst>
        </pc:picChg>
      </pc:sldChg>
      <pc:sldChg chg="modSp">
        <pc:chgData name="Kiela Karina Moreno" userId="S::mpg7143@ads.northwestern.edu::1e897b35-0dd4-497a-9ab7-7a37e6c39d5b" providerId="AD" clId="Web-{F88C9E9B-DA26-F68F-F253-DAEDC13F9025}" dt="2024-02-06T21:40:48.932" v="305" actId="20577"/>
        <pc:sldMkLst>
          <pc:docMk/>
          <pc:sldMk cId="1881092197" sldId="855"/>
        </pc:sldMkLst>
        <pc:spChg chg="mod">
          <ac:chgData name="Kiela Karina Moreno" userId="S::mpg7143@ads.northwestern.edu::1e897b35-0dd4-497a-9ab7-7a37e6c39d5b" providerId="AD" clId="Web-{F88C9E9B-DA26-F68F-F253-DAEDC13F9025}" dt="2024-02-06T21:40:48.932" v="305" actId="20577"/>
          <ac:spMkLst>
            <pc:docMk/>
            <pc:sldMk cId="1881092197" sldId="855"/>
            <ac:spMk id="2" creationId="{3211BF8C-E76B-5DCC-741A-A8EC35718AC9}"/>
          </ac:spMkLst>
        </pc:spChg>
      </pc:sldChg>
      <pc:sldChg chg="delSp modSp">
        <pc:chgData name="Kiela Karina Moreno" userId="S::mpg7143@ads.northwestern.edu::1e897b35-0dd4-497a-9ab7-7a37e6c39d5b" providerId="AD" clId="Web-{F88C9E9B-DA26-F68F-F253-DAEDC13F9025}" dt="2024-02-06T21:27:48.176" v="175" actId="1076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F88C9E9B-DA26-F68F-F253-DAEDC13F9025}" dt="2024-02-06T21:27:43.020" v="174" actId="1076"/>
          <ac:spMkLst>
            <pc:docMk/>
            <pc:sldMk cId="2820585005" sldId="856"/>
            <ac:spMk id="3" creationId="{FADC0547-5E97-EE89-A9F3-3D3E822F0FA8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7:48.176" v="175" actId="1076"/>
          <ac:spMkLst>
            <pc:docMk/>
            <pc:sldMk cId="2820585005" sldId="856"/>
            <ac:spMk id="5" creationId="{128C267F-D634-3898-5F27-33D0A5C5B94E}"/>
          </ac:spMkLst>
        </pc:spChg>
        <pc:inkChg chg="del">
          <ac:chgData name="Kiela Karina Moreno" userId="S::mpg7143@ads.northwestern.edu::1e897b35-0dd4-497a-9ab7-7a37e6c39d5b" providerId="AD" clId="Web-{F88C9E9B-DA26-F68F-F253-DAEDC13F9025}" dt="2024-02-06T21:27:14.472" v="166"/>
          <ac:inkMkLst>
            <pc:docMk/>
            <pc:sldMk cId="2820585005" sldId="856"/>
            <ac:inkMk id="7" creationId="{C6AD4272-53FD-6A9C-1D00-171F06EB73E2}"/>
          </ac:inkMkLst>
        </pc:inkChg>
        <pc:inkChg chg="del">
          <ac:chgData name="Kiela Karina Moreno" userId="S::mpg7143@ads.northwestern.edu::1e897b35-0dd4-497a-9ab7-7a37e6c39d5b" providerId="AD" clId="Web-{F88C9E9B-DA26-F68F-F253-DAEDC13F9025}" dt="2024-02-06T21:27:41.411" v="173"/>
          <ac:inkMkLst>
            <pc:docMk/>
            <pc:sldMk cId="2820585005" sldId="856"/>
            <ac:inkMk id="8" creationId="{988F8916-B232-3DEB-B2C2-AB2F109E6E32}"/>
          </ac:inkMkLst>
        </pc:inkChg>
        <pc:inkChg chg="del">
          <ac:chgData name="Kiela Karina Moreno" userId="S::mpg7143@ads.northwestern.edu::1e897b35-0dd4-497a-9ab7-7a37e6c39d5b" providerId="AD" clId="Web-{F88C9E9B-DA26-F68F-F253-DAEDC13F9025}" dt="2024-02-06T21:27:38.067" v="172"/>
          <ac:inkMkLst>
            <pc:docMk/>
            <pc:sldMk cId="2820585005" sldId="856"/>
            <ac:inkMk id="9" creationId="{B26E4F8F-AE86-3A96-C62A-887FCF0F8B0D}"/>
          </ac:inkMkLst>
        </pc:inkChg>
        <pc:inkChg chg="del">
          <ac:chgData name="Kiela Karina Moreno" userId="S::mpg7143@ads.northwestern.edu::1e897b35-0dd4-497a-9ab7-7a37e6c39d5b" providerId="AD" clId="Web-{F88C9E9B-DA26-F68F-F253-DAEDC13F9025}" dt="2024-02-06T21:27:37.957" v="171"/>
          <ac:inkMkLst>
            <pc:docMk/>
            <pc:sldMk cId="2820585005" sldId="856"/>
            <ac:inkMk id="10" creationId="{0E686C9B-BBD3-1988-5FD2-86E5EE34397A}"/>
          </ac:inkMkLst>
        </pc:inkChg>
        <pc:inkChg chg="del">
          <ac:chgData name="Kiela Karina Moreno" userId="S::mpg7143@ads.northwestern.edu::1e897b35-0dd4-497a-9ab7-7a37e6c39d5b" providerId="AD" clId="Web-{F88C9E9B-DA26-F68F-F253-DAEDC13F9025}" dt="2024-02-06T21:27:33.192" v="170"/>
          <ac:inkMkLst>
            <pc:docMk/>
            <pc:sldMk cId="2820585005" sldId="856"/>
            <ac:inkMk id="11" creationId="{A83FA312-40D1-BA06-F744-73C5D8661FE4}"/>
          </ac:inkMkLst>
        </pc:inkChg>
      </pc:sldChg>
      <pc:sldChg chg="del">
        <pc:chgData name="Kiela Karina Moreno" userId="S::mpg7143@ads.northwestern.edu::1e897b35-0dd4-497a-9ab7-7a37e6c39d5b" providerId="AD" clId="Web-{F88C9E9B-DA26-F68F-F253-DAEDC13F9025}" dt="2024-02-06T21:36:24.128" v="241"/>
        <pc:sldMkLst>
          <pc:docMk/>
          <pc:sldMk cId="2665110015" sldId="857"/>
        </pc:sldMkLst>
      </pc:sldChg>
      <pc:sldChg chg="modSp">
        <pc:chgData name="Kiela Karina Moreno" userId="S::mpg7143@ads.northwestern.edu::1e897b35-0dd4-497a-9ab7-7a37e6c39d5b" providerId="AD" clId="Web-{F88C9E9B-DA26-F68F-F253-DAEDC13F9025}" dt="2024-02-06T21:25:22.985" v="141" actId="1076"/>
        <pc:sldMkLst>
          <pc:docMk/>
          <pc:sldMk cId="1210022179" sldId="858"/>
        </pc:sldMkLst>
        <pc:spChg chg="mod">
          <ac:chgData name="Kiela Karina Moreno" userId="S::mpg7143@ads.northwestern.edu::1e897b35-0dd4-497a-9ab7-7a37e6c39d5b" providerId="AD" clId="Web-{F88C9E9B-DA26-F68F-F253-DAEDC13F9025}" dt="2024-02-06T21:25:17.813" v="140" actId="20577"/>
          <ac:spMkLst>
            <pc:docMk/>
            <pc:sldMk cId="1210022179" sldId="858"/>
            <ac:spMk id="2" creationId="{A6FAA70D-3B97-AAF4-599A-5BEF539C23CA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5:22.985" v="141" actId="1076"/>
          <ac:spMkLst>
            <pc:docMk/>
            <pc:sldMk cId="1210022179" sldId="858"/>
            <ac:spMk id="5" creationId="{AE74FBFB-1843-9ED4-705E-449C6A1AC847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45:55.096" v="331" actId="20577"/>
        <pc:sldMkLst>
          <pc:docMk/>
          <pc:sldMk cId="1549817843" sldId="859"/>
        </pc:sldMkLst>
        <pc:spChg chg="mod">
          <ac:chgData name="Kiela Karina Moreno" userId="S::mpg7143@ads.northwestern.edu::1e897b35-0dd4-497a-9ab7-7a37e6c39d5b" providerId="AD" clId="Web-{F88C9E9B-DA26-F68F-F253-DAEDC13F9025}" dt="2024-02-06T21:45:49.784" v="329" actId="20577"/>
          <ac:spMkLst>
            <pc:docMk/>
            <pc:sldMk cId="1549817843" sldId="859"/>
            <ac:spMk id="3" creationId="{D1DF164C-6C8E-F933-CDE7-B27DEF5C5D66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45:55.096" v="331" actId="20577"/>
          <ac:spMkLst>
            <pc:docMk/>
            <pc:sldMk cId="1549817843" sldId="859"/>
            <ac:spMk id="5" creationId="{28EEFACB-0687-4B68-E7F7-2F8CEA153D40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33:42.092" v="212" actId="20577"/>
        <pc:sldMkLst>
          <pc:docMk/>
          <pc:sldMk cId="3358532880" sldId="860"/>
        </pc:sldMkLst>
        <pc:spChg chg="mod">
          <ac:chgData name="Kiela Karina Moreno" userId="S::mpg7143@ads.northwestern.edu::1e897b35-0dd4-497a-9ab7-7a37e6c39d5b" providerId="AD" clId="Web-{F88C9E9B-DA26-F68F-F253-DAEDC13F9025}" dt="2024-02-06T21:33:03.638" v="204"/>
          <ac:spMkLst>
            <pc:docMk/>
            <pc:sldMk cId="3358532880" sldId="860"/>
            <ac:spMk id="3" creationId="{915C96FB-CA3E-FB7D-FA87-C8B63F874A7E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3:28.264" v="208" actId="20577"/>
          <ac:spMkLst>
            <pc:docMk/>
            <pc:sldMk cId="3358532880" sldId="860"/>
            <ac:spMk id="5" creationId="{AD69717A-2BD8-597E-FC87-0EB07ED0EC55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3:42.092" v="212" actId="20577"/>
          <ac:spMkLst>
            <pc:docMk/>
            <pc:sldMk cId="3358532880" sldId="860"/>
            <ac:spMk id="6" creationId="{0A19B7D0-D2C1-0E7C-DA5D-71EC98546092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34:59.110" v="224" actId="1076"/>
        <pc:sldMkLst>
          <pc:docMk/>
          <pc:sldMk cId="3254557287" sldId="861"/>
        </pc:sldMkLst>
        <pc:spChg chg="mod">
          <ac:chgData name="Kiela Karina Moreno" userId="S::mpg7143@ads.northwestern.edu::1e897b35-0dd4-497a-9ab7-7a37e6c39d5b" providerId="AD" clId="Web-{F88C9E9B-DA26-F68F-F253-DAEDC13F9025}" dt="2024-02-06T21:34:19.437" v="214" actId="20577"/>
          <ac:spMkLst>
            <pc:docMk/>
            <pc:sldMk cId="3254557287" sldId="861"/>
            <ac:spMk id="3" creationId="{B5CF8736-CF94-7C4E-D38E-73EDEAE3BE52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4:38.438" v="217" actId="20577"/>
          <ac:spMkLst>
            <pc:docMk/>
            <pc:sldMk cId="3254557287" sldId="861"/>
            <ac:spMk id="5" creationId="{CC1A758B-11CF-30AA-57C3-72F03852AF49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4:43.313" v="222" actId="20577"/>
          <ac:spMkLst>
            <pc:docMk/>
            <pc:sldMk cId="3254557287" sldId="861"/>
            <ac:spMk id="7" creationId="{00242547-8889-9F47-6186-47CBD0946F0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4:59.110" v="224" actId="1076"/>
          <ac:spMkLst>
            <pc:docMk/>
            <pc:sldMk cId="3254557287" sldId="861"/>
            <ac:spMk id="10" creationId="{FA20F2E4-AE01-C67C-1858-DD840E7370B1}"/>
          </ac:spMkLst>
        </pc:spChg>
      </pc:sldChg>
      <pc:sldChg chg="add del">
        <pc:chgData name="Kiela Karina Moreno" userId="S::mpg7143@ads.northwestern.edu::1e897b35-0dd4-497a-9ab7-7a37e6c39d5b" providerId="AD" clId="Web-{F88C9E9B-DA26-F68F-F253-DAEDC13F9025}" dt="2024-02-06T21:36:28.690" v="243"/>
        <pc:sldMkLst>
          <pc:docMk/>
          <pc:sldMk cId="3493254750" sldId="862"/>
        </pc:sldMkLst>
      </pc:sldChg>
      <pc:sldChg chg="modSp">
        <pc:chgData name="Kiela Karina Moreno" userId="S::mpg7143@ads.northwestern.edu::1e897b35-0dd4-497a-9ab7-7a37e6c39d5b" providerId="AD" clId="Web-{F88C9E9B-DA26-F68F-F253-DAEDC13F9025}" dt="2024-02-06T21:49:13.336" v="334"/>
        <pc:sldMkLst>
          <pc:docMk/>
          <pc:sldMk cId="726365034" sldId="864"/>
        </pc:sldMkLst>
        <pc:spChg chg="mod">
          <ac:chgData name="Kiela Karina Moreno" userId="S::mpg7143@ads.northwestern.edu::1e897b35-0dd4-497a-9ab7-7a37e6c39d5b" providerId="AD" clId="Web-{F88C9E9B-DA26-F68F-F253-DAEDC13F9025}" dt="2024-02-06T21:49:13.336" v="334"/>
          <ac:spMkLst>
            <pc:docMk/>
            <pc:sldMk cId="726365034" sldId="864"/>
            <ac:spMk id="3" creationId="{15FDA696-83D9-E4ED-CA4A-7C25F7AC7762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30:46.978" v="197" actId="20577"/>
        <pc:sldMkLst>
          <pc:docMk/>
          <pc:sldMk cId="2947401908" sldId="865"/>
        </pc:sldMkLst>
        <pc:spChg chg="mod">
          <ac:chgData name="Kiela Karina Moreno" userId="S::mpg7143@ads.northwestern.edu::1e897b35-0dd4-497a-9ab7-7a37e6c39d5b" providerId="AD" clId="Web-{F88C9E9B-DA26-F68F-F253-DAEDC13F9025}" dt="2024-02-06T21:30:46.978" v="197" actId="20577"/>
          <ac:spMkLst>
            <pc:docMk/>
            <pc:sldMk cId="2947401908" sldId="865"/>
            <ac:spMk id="2" creationId="{3DDA825D-4829-111F-EAFA-DD3F2F2D6B3C}"/>
          </ac:spMkLst>
        </pc:spChg>
      </pc:sldChg>
      <pc:sldChg chg="addSp modSp">
        <pc:chgData name="Kiela Karina Moreno" userId="S::mpg7143@ads.northwestern.edu::1e897b35-0dd4-497a-9ab7-7a37e6c39d5b" providerId="AD" clId="Web-{F88C9E9B-DA26-F68F-F253-DAEDC13F9025}" dt="2024-02-06T22:00:46.745" v="349" actId="1076"/>
        <pc:sldMkLst>
          <pc:docMk/>
          <pc:sldMk cId="1914631794" sldId="866"/>
        </pc:sldMkLst>
        <pc:spChg chg="add mod">
          <ac:chgData name="Kiela Karina Moreno" userId="S::mpg7143@ads.northwestern.edu::1e897b35-0dd4-497a-9ab7-7a37e6c39d5b" providerId="AD" clId="Web-{F88C9E9B-DA26-F68F-F253-DAEDC13F9025}" dt="2024-02-06T22:00:46.745" v="349" actId="1076"/>
          <ac:spMkLst>
            <pc:docMk/>
            <pc:sldMk cId="1914631794" sldId="866"/>
            <ac:spMk id="3" creationId="{5EC312F1-9F6E-D473-207C-7D9046AEEDE1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2:47.638" v="202" actId="1076"/>
          <ac:spMkLst>
            <pc:docMk/>
            <pc:sldMk cId="1914631794" sldId="866"/>
            <ac:spMk id="5" creationId="{F3E514EC-6A06-92ED-C74D-310EDB233E82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1:06.729" v="199" actId="20577"/>
          <ac:spMkLst>
            <pc:docMk/>
            <pc:sldMk cId="1914631794" sldId="866"/>
            <ac:spMk id="7" creationId="{A613F0CA-0B42-2365-025C-A56F8FFC9B87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37:23.348" v="254" actId="1076"/>
        <pc:sldMkLst>
          <pc:docMk/>
          <pc:sldMk cId="1548499057" sldId="867"/>
        </pc:sldMkLst>
        <pc:spChg chg="mod">
          <ac:chgData name="Kiela Karina Moreno" userId="S::mpg7143@ads.northwestern.edu::1e897b35-0dd4-497a-9ab7-7a37e6c39d5b" providerId="AD" clId="Web-{F88C9E9B-DA26-F68F-F253-DAEDC13F9025}" dt="2024-02-06T21:37:02.723" v="251" actId="1076"/>
          <ac:spMkLst>
            <pc:docMk/>
            <pc:sldMk cId="1548499057" sldId="867"/>
            <ac:spMk id="3" creationId="{477DBB18-4ABA-5958-7B3D-1A4CBBA0F490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7:17.395" v="253" actId="1076"/>
          <ac:spMkLst>
            <pc:docMk/>
            <pc:sldMk cId="1548499057" sldId="867"/>
            <ac:spMk id="4" creationId="{07482ACE-FF81-DCEB-B9A3-3AF8C8943F69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6:42.285" v="244"/>
          <ac:spMkLst>
            <pc:docMk/>
            <pc:sldMk cId="1548499057" sldId="867"/>
            <ac:spMk id="5" creationId="{2D4FF9EE-CA60-EF60-2539-95209B37945E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37:23.348" v="254" actId="1076"/>
          <ac:spMkLst>
            <pc:docMk/>
            <pc:sldMk cId="1548499057" sldId="867"/>
            <ac:spMk id="7" creationId="{7C5994FE-ED51-DDC2-A1E8-43D1A63531A2}"/>
          </ac:spMkLst>
        </pc:spChg>
      </pc:sldChg>
      <pc:sldChg chg="modSp">
        <pc:chgData name="Kiela Karina Moreno" userId="S::mpg7143@ads.northwestern.edu::1e897b35-0dd4-497a-9ab7-7a37e6c39d5b" providerId="AD" clId="Web-{F88C9E9B-DA26-F68F-F253-DAEDC13F9025}" dt="2024-02-06T21:24:40.671" v="137" actId="20577"/>
        <pc:sldMkLst>
          <pc:docMk/>
          <pc:sldMk cId="927158119" sldId="868"/>
        </pc:sldMkLst>
        <pc:spChg chg="mod">
          <ac:chgData name="Kiela Karina Moreno" userId="S::mpg7143@ads.northwestern.edu::1e897b35-0dd4-497a-9ab7-7a37e6c39d5b" providerId="AD" clId="Web-{F88C9E9B-DA26-F68F-F253-DAEDC13F9025}" dt="2024-02-06T21:24:40.671" v="137" actId="20577"/>
          <ac:spMkLst>
            <pc:docMk/>
            <pc:sldMk cId="927158119" sldId="868"/>
            <ac:spMk id="2" creationId="{740580F6-8254-3A9A-13D0-E1CFC13D6836}"/>
          </ac:spMkLst>
        </pc:spChg>
        <pc:spChg chg="mod">
          <ac:chgData name="Kiela Karina Moreno" userId="S::mpg7143@ads.northwestern.edu::1e897b35-0dd4-497a-9ab7-7a37e6c39d5b" providerId="AD" clId="Web-{F88C9E9B-DA26-F68F-F253-DAEDC13F9025}" dt="2024-02-06T21:24:36.156" v="136" actId="20577"/>
          <ac:spMkLst>
            <pc:docMk/>
            <pc:sldMk cId="927158119" sldId="868"/>
            <ac:spMk id="11" creationId="{9F9FF554-DE24-E3F9-4A31-4BD1A14B5871}"/>
          </ac:spMkLst>
        </pc:spChg>
        <pc:picChg chg="mod">
          <ac:chgData name="Kiela Karina Moreno" userId="S::mpg7143@ads.northwestern.edu::1e897b35-0dd4-497a-9ab7-7a37e6c39d5b" providerId="AD" clId="Web-{F88C9E9B-DA26-F68F-F253-DAEDC13F9025}" dt="2024-02-06T21:08:12.785" v="6" actId="1076"/>
          <ac:picMkLst>
            <pc:docMk/>
            <pc:sldMk cId="927158119" sldId="868"/>
            <ac:picMk id="9" creationId="{72874926-BC85-B71F-75BA-248AA4B55151}"/>
          </ac:picMkLst>
        </pc:picChg>
      </pc:sldChg>
      <pc:sldChg chg="addSp modSp add ord replId">
        <pc:chgData name="Kiela Karina Moreno" userId="S::mpg7143@ads.northwestern.edu::1e897b35-0dd4-497a-9ab7-7a37e6c39d5b" providerId="AD" clId="Web-{F88C9E9B-DA26-F68F-F253-DAEDC13F9025}" dt="2024-02-06T21:35:18.345" v="226" actId="1076"/>
        <pc:sldMkLst>
          <pc:docMk/>
          <pc:sldMk cId="2303357285" sldId="869"/>
        </pc:sldMkLst>
        <pc:spChg chg="mod">
          <ac:chgData name="Kiela Karina Moreno" userId="S::mpg7143@ads.northwestern.edu::1e897b35-0dd4-497a-9ab7-7a37e6c39d5b" providerId="AD" clId="Web-{F88C9E9B-DA26-F68F-F253-DAEDC13F9025}" dt="2024-02-06T21:28:19.646" v="186" actId="1076"/>
          <ac:spMkLst>
            <pc:docMk/>
            <pc:sldMk cId="2303357285" sldId="869"/>
            <ac:spMk id="2" creationId="{304FC3E6-8E03-4AD0-DC5A-624DF52B6ED0}"/>
          </ac:spMkLst>
        </pc:spChg>
        <pc:spChg chg="add mod">
          <ac:chgData name="Kiela Karina Moreno" userId="S::mpg7143@ads.northwestern.edu::1e897b35-0dd4-497a-9ab7-7a37e6c39d5b" providerId="AD" clId="Web-{F88C9E9B-DA26-F68F-F253-DAEDC13F9025}" dt="2024-02-06T21:28:29.240" v="188" actId="1076"/>
          <ac:spMkLst>
            <pc:docMk/>
            <pc:sldMk cId="2303357285" sldId="869"/>
            <ac:spMk id="4" creationId="{8C82C81E-502D-BE3D-429C-0EA81B1F57BD}"/>
          </ac:spMkLst>
        </pc:spChg>
        <pc:picChg chg="add mod">
          <ac:chgData name="Kiela Karina Moreno" userId="S::mpg7143@ads.northwestern.edu::1e897b35-0dd4-497a-9ab7-7a37e6c39d5b" providerId="AD" clId="Web-{F88C9E9B-DA26-F68F-F253-DAEDC13F9025}" dt="2024-02-06T21:35:18.345" v="226" actId="1076"/>
          <ac:picMkLst>
            <pc:docMk/>
            <pc:sldMk cId="2303357285" sldId="869"/>
            <ac:picMk id="6" creationId="{71BFFE68-F9B2-3E93-AD63-B48033147970}"/>
          </ac:picMkLst>
        </pc:picChg>
      </pc:sldChg>
      <pc:sldChg chg="addSp delSp modSp new">
        <pc:chgData name="Kiela Karina Moreno" userId="S::mpg7143@ads.northwestern.edu::1e897b35-0dd4-497a-9ab7-7a37e6c39d5b" providerId="AD" clId="Web-{F88C9E9B-DA26-F68F-F253-DAEDC13F9025}" dt="2024-02-06T21:36:12.831" v="240"/>
        <pc:sldMkLst>
          <pc:docMk/>
          <pc:sldMk cId="855149919" sldId="870"/>
        </pc:sldMkLst>
        <pc:spChg chg="add mod">
          <ac:chgData name="Kiela Karina Moreno" userId="S::mpg7143@ads.northwestern.edu::1e897b35-0dd4-497a-9ab7-7a37e6c39d5b" providerId="AD" clId="Web-{F88C9E9B-DA26-F68F-F253-DAEDC13F9025}" dt="2024-02-06T21:36:00.846" v="236" actId="20577"/>
          <ac:spMkLst>
            <pc:docMk/>
            <pc:sldMk cId="855149919" sldId="870"/>
            <ac:spMk id="3" creationId="{EE0EE383-1DEA-1FE4-CC09-3832CC0F851F}"/>
          </ac:spMkLst>
        </pc:spChg>
        <pc:spChg chg="add del mod">
          <ac:chgData name="Kiela Karina Moreno" userId="S::mpg7143@ads.northwestern.edu::1e897b35-0dd4-497a-9ab7-7a37e6c39d5b" providerId="AD" clId="Web-{F88C9E9B-DA26-F68F-F253-DAEDC13F9025}" dt="2024-02-06T21:36:12.831" v="240"/>
          <ac:spMkLst>
            <pc:docMk/>
            <pc:sldMk cId="855149919" sldId="870"/>
            <ac:spMk id="4" creationId="{6DD3FDF8-DA9E-E862-33F8-9D5CDE41C9FA}"/>
          </ac:spMkLst>
        </pc:spChg>
      </pc:sldChg>
      <pc:sldChg chg="addSp delSp modSp new">
        <pc:chgData name="Kiela Karina Moreno" userId="S::mpg7143@ads.northwestern.edu::1e897b35-0dd4-497a-9ab7-7a37e6c39d5b" providerId="AD" clId="Web-{F88C9E9B-DA26-F68F-F253-DAEDC13F9025}" dt="2024-02-06T21:38:43.397" v="285"/>
        <pc:sldMkLst>
          <pc:docMk/>
          <pc:sldMk cId="2762163785" sldId="871"/>
        </pc:sldMkLst>
        <pc:spChg chg="add mod">
          <ac:chgData name="Kiela Karina Moreno" userId="S::mpg7143@ads.northwestern.edu::1e897b35-0dd4-497a-9ab7-7a37e6c39d5b" providerId="AD" clId="Web-{F88C9E9B-DA26-F68F-F253-DAEDC13F9025}" dt="2024-02-06T21:38:19.646" v="274" actId="20577"/>
          <ac:spMkLst>
            <pc:docMk/>
            <pc:sldMk cId="2762163785" sldId="871"/>
            <ac:spMk id="5" creationId="{29762A30-9E95-E9C4-E801-80ED83B5069F}"/>
          </ac:spMkLst>
        </pc:spChg>
        <pc:spChg chg="add del mod">
          <ac:chgData name="Kiela Karina Moreno" userId="S::mpg7143@ads.northwestern.edu::1e897b35-0dd4-497a-9ab7-7a37e6c39d5b" providerId="AD" clId="Web-{F88C9E9B-DA26-F68F-F253-DAEDC13F9025}" dt="2024-02-06T21:38:43.397" v="285"/>
          <ac:spMkLst>
            <pc:docMk/>
            <pc:sldMk cId="2762163785" sldId="871"/>
            <ac:spMk id="6" creationId="{13902B24-5075-7C54-A6FE-90F37031BF01}"/>
          </ac:spMkLst>
        </pc:spChg>
        <pc:picChg chg="add">
          <ac:chgData name="Kiela Karina Moreno" userId="S::mpg7143@ads.northwestern.edu::1e897b35-0dd4-497a-9ab7-7a37e6c39d5b" providerId="AD" clId="Web-{F88C9E9B-DA26-F68F-F253-DAEDC13F9025}" dt="2024-02-06T21:37:51.568" v="259"/>
          <ac:picMkLst>
            <pc:docMk/>
            <pc:sldMk cId="2762163785" sldId="871"/>
            <ac:picMk id="3" creationId="{C215F430-4B13-A518-9DD7-748E34F46D7A}"/>
          </ac:picMkLst>
        </pc:picChg>
      </pc:sldChg>
      <pc:sldChg chg="add replId">
        <pc:chgData name="Kiela Karina Moreno" userId="S::mpg7143@ads.northwestern.edu::1e897b35-0dd4-497a-9ab7-7a37e6c39d5b" providerId="AD" clId="Web-{F88C9E9B-DA26-F68F-F253-DAEDC13F9025}" dt="2024-02-06T21:46:14.597" v="332"/>
        <pc:sldMkLst>
          <pc:docMk/>
          <pc:sldMk cId="4226091729" sldId="872"/>
        </pc:sldMkLst>
      </pc:sldChg>
      <pc:sldMasterChg chg="addSldLayout">
        <pc:chgData name="Kiela Karina Moreno" userId="S::mpg7143@ads.northwestern.edu::1e897b35-0dd4-497a-9ab7-7a37e6c39d5b" providerId="AD" clId="Web-{F88C9E9B-DA26-F68F-F253-DAEDC13F9025}" dt="2024-02-06T21:06:29.220" v="0"/>
        <pc:sldMasterMkLst>
          <pc:docMk/>
          <pc:sldMasterMk cId="2460954070" sldId="2147488246"/>
        </pc:sldMasterMkLst>
        <pc:sldLayoutChg chg="add">
          <pc:chgData name="Kiela Karina Moreno" userId="S::mpg7143@ads.northwestern.edu::1e897b35-0dd4-497a-9ab7-7a37e6c39d5b" providerId="AD" clId="Web-{F88C9E9B-DA26-F68F-F253-DAEDC13F9025}" dt="2024-02-06T21:06:29.220" v="0"/>
          <pc:sldLayoutMkLst>
            <pc:docMk/>
            <pc:sldMasterMk cId="2460954070" sldId="2147488246"/>
            <pc:sldLayoutMk cId="3760331786" sldId="2147488245"/>
          </pc:sldLayoutMkLst>
        </pc:sldLayoutChg>
      </pc:sldMasterChg>
    </pc:docChg>
  </pc:docChgLst>
  <pc:docChgLst>
    <pc:chgData name="Kiela Karina Moreno" userId="S::mpg7143@ads.northwestern.edu::1e897b35-0dd4-497a-9ab7-7a37e6c39d5b" providerId="AD" clId="Web-{8190AEE8-36AC-D76C-A98D-280A45FA168B}"/>
    <pc:docChg chg="mod addSld delSld modSld sldOrd">
      <pc:chgData name="Kiela Karina Moreno" userId="S::mpg7143@ads.northwestern.edu::1e897b35-0dd4-497a-9ab7-7a37e6c39d5b" providerId="AD" clId="Web-{8190AEE8-36AC-D76C-A98D-280A45FA168B}" dt="2024-02-13T21:37:59.130" v="1080" actId="20577"/>
      <pc:docMkLst>
        <pc:docMk/>
      </pc:docMkLst>
      <pc:sldChg chg="addSp delSp modSp del">
        <pc:chgData name="Kiela Karina Moreno" userId="S::mpg7143@ads.northwestern.edu::1e897b35-0dd4-497a-9ab7-7a37e6c39d5b" providerId="AD" clId="Web-{8190AEE8-36AC-D76C-A98D-280A45FA168B}" dt="2024-02-13T18:20:11.921" v="274"/>
        <pc:sldMkLst>
          <pc:docMk/>
          <pc:sldMk cId="888580837" sldId="772"/>
        </pc:sldMkLst>
        <pc:spChg chg="del mod">
          <ac:chgData name="Kiela Karina Moreno" userId="S::mpg7143@ads.northwestern.edu::1e897b35-0dd4-497a-9ab7-7a37e6c39d5b" providerId="AD" clId="Web-{8190AEE8-36AC-D76C-A98D-280A45FA168B}" dt="2024-02-13T18:19:20.420" v="254"/>
          <ac:spMkLst>
            <pc:docMk/>
            <pc:sldMk cId="888580837" sldId="772"/>
            <ac:spMk id="2" creationId="{88C03B97-F91F-5C26-7B79-00E0DB69BAF4}"/>
          </ac:spMkLst>
        </pc:spChg>
        <pc:spChg chg="del mod">
          <ac:chgData name="Kiela Karina Moreno" userId="S::mpg7143@ads.northwestern.edu::1e897b35-0dd4-497a-9ab7-7a37e6c39d5b" providerId="AD" clId="Web-{8190AEE8-36AC-D76C-A98D-280A45FA168B}" dt="2024-02-13T18:19:20.341" v="253"/>
          <ac:spMkLst>
            <pc:docMk/>
            <pc:sldMk cId="888580837" sldId="772"/>
            <ac:spMk id="3" creationId="{B1427D6B-E22E-C7B2-7E6C-15F100C2036F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18:19:55.218" v="267"/>
          <ac:spMkLst>
            <pc:docMk/>
            <pc:sldMk cId="888580837" sldId="772"/>
            <ac:spMk id="4" creationId="{637E5912-E2FF-86D1-30FB-02FA8BC8499E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18:19:55.218" v="268"/>
          <ac:spMkLst>
            <pc:docMk/>
            <pc:sldMk cId="888580837" sldId="772"/>
            <ac:spMk id="5" creationId="{995BA647-895D-F4BB-5F02-92826030E002}"/>
          </ac:spMkLst>
        </pc:spChg>
        <pc:spChg chg="add del mod">
          <ac:chgData name="Kiela Karina Moreno" userId="S::mpg7143@ads.northwestern.edu::1e897b35-0dd4-497a-9ab7-7a37e6c39d5b" providerId="AD" clId="Web-{8190AEE8-36AC-D76C-A98D-280A45FA168B}" dt="2024-02-13T18:19:19.685" v="252"/>
          <ac:spMkLst>
            <pc:docMk/>
            <pc:sldMk cId="888580837" sldId="772"/>
            <ac:spMk id="10" creationId="{2B1CE8A8-2FF3-41D9-8EBB-20BAFAA12885}"/>
          </ac:spMkLst>
        </pc:spChg>
        <pc:spChg chg="add del mod">
          <ac:chgData name="Kiela Karina Moreno" userId="S::mpg7143@ads.northwestern.edu::1e897b35-0dd4-497a-9ab7-7a37e6c39d5b" providerId="AD" clId="Web-{8190AEE8-36AC-D76C-A98D-280A45FA168B}" dt="2024-02-13T18:19:50.358" v="259"/>
          <ac:spMkLst>
            <pc:docMk/>
            <pc:sldMk cId="888580837" sldId="772"/>
            <ac:spMk id="12" creationId="{CD6A81A3-15BC-B967-8F04-CA2148FB038D}"/>
          </ac:spMkLst>
        </pc:spChg>
        <pc:spChg chg="add del mod">
          <ac:chgData name="Kiela Karina Moreno" userId="S::mpg7143@ads.northwestern.edu::1e897b35-0dd4-497a-9ab7-7a37e6c39d5b" providerId="AD" clId="Web-{8190AEE8-36AC-D76C-A98D-280A45FA168B}" dt="2024-02-13T18:19:47.421" v="258"/>
          <ac:spMkLst>
            <pc:docMk/>
            <pc:sldMk cId="888580837" sldId="772"/>
            <ac:spMk id="14" creationId="{5415AC86-1BBE-432A-85A9-98DD8DFED0EC}"/>
          </ac:spMkLst>
        </pc:spChg>
        <pc:picChg chg="add del">
          <ac:chgData name="Kiela Karina Moreno" userId="S::mpg7143@ads.northwestern.edu::1e897b35-0dd4-497a-9ab7-7a37e6c39d5b" providerId="AD" clId="Web-{8190AEE8-36AC-D76C-A98D-280A45FA168B}" dt="2024-02-13T18:19:59.421" v="272"/>
          <ac:picMkLst>
            <pc:docMk/>
            <pc:sldMk cId="888580837" sldId="772"/>
            <ac:picMk id="7" creationId="{3398751E-4D34-1AF8-623F-43A6FA61BD37}"/>
          </ac:picMkLst>
        </pc:picChg>
        <pc:picChg chg="add del mod">
          <ac:chgData name="Kiela Karina Moreno" userId="S::mpg7143@ads.northwestern.edu::1e897b35-0dd4-497a-9ab7-7a37e6c39d5b" providerId="AD" clId="Web-{8190AEE8-36AC-D76C-A98D-280A45FA168B}" dt="2024-02-13T18:19:59.421" v="271"/>
          <ac:picMkLst>
            <pc:docMk/>
            <pc:sldMk cId="888580837" sldId="772"/>
            <ac:picMk id="8" creationId="{17077382-2543-2907-6D92-372C68862780}"/>
          </ac:picMkLst>
        </pc:picChg>
        <pc:picChg chg="add del mod">
          <ac:chgData name="Kiela Karina Moreno" userId="S::mpg7143@ads.northwestern.edu::1e897b35-0dd4-497a-9ab7-7a37e6c39d5b" providerId="AD" clId="Web-{8190AEE8-36AC-D76C-A98D-280A45FA168B}" dt="2024-02-13T18:19:59.421" v="270"/>
          <ac:picMkLst>
            <pc:docMk/>
            <pc:sldMk cId="888580837" sldId="772"/>
            <ac:picMk id="9" creationId="{BD6A65AD-79B7-DF14-89DD-8B8084FD7922}"/>
          </ac:picMkLst>
        </pc:picChg>
      </pc:sldChg>
      <pc:sldChg chg="modSp add">
        <pc:chgData name="Kiela Karina Moreno" userId="S::mpg7143@ads.northwestern.edu::1e897b35-0dd4-497a-9ab7-7a37e6c39d5b" providerId="AD" clId="Web-{8190AEE8-36AC-D76C-A98D-280A45FA168B}" dt="2024-02-13T21:26:20.182" v="922" actId="20577"/>
        <pc:sldMkLst>
          <pc:docMk/>
          <pc:sldMk cId="807528301" sldId="787"/>
        </pc:sldMkLst>
        <pc:spChg chg="mod">
          <ac:chgData name="Kiela Karina Moreno" userId="S::mpg7143@ads.northwestern.edu::1e897b35-0dd4-497a-9ab7-7a37e6c39d5b" providerId="AD" clId="Web-{8190AEE8-36AC-D76C-A98D-280A45FA168B}" dt="2024-02-13T18:21:47.628" v="284" actId="1076"/>
          <ac:spMkLst>
            <pc:docMk/>
            <pc:sldMk cId="807528301" sldId="787"/>
            <ac:spMk id="2" creationId="{2B1CE8A8-2FF3-41D9-8EBB-20BAFAA12885}"/>
          </ac:spMkLst>
        </pc:spChg>
        <pc:spChg chg="mod">
          <ac:chgData name="Kiela Karina Moreno" userId="S::mpg7143@ads.northwestern.edu::1e897b35-0dd4-497a-9ab7-7a37e6c39d5b" providerId="AD" clId="Web-{8190AEE8-36AC-D76C-A98D-280A45FA168B}" dt="2024-02-13T21:26:20.182" v="922" actId="20577"/>
          <ac:spMkLst>
            <pc:docMk/>
            <pc:sldMk cId="807528301" sldId="787"/>
            <ac:spMk id="3" creationId="{346BEF43-F0D4-4DBB-8DD8-70A340D2EBE7}"/>
          </ac:spMkLst>
        </pc:spChg>
      </pc:sldChg>
      <pc:sldChg chg="modSp">
        <pc:chgData name="Kiela Karina Moreno" userId="S::mpg7143@ads.northwestern.edu::1e897b35-0dd4-497a-9ab7-7a37e6c39d5b" providerId="AD" clId="Web-{8190AEE8-36AC-D76C-A98D-280A45FA168B}" dt="2024-02-13T18:20:27.688" v="277"/>
        <pc:sldMkLst>
          <pc:docMk/>
          <pc:sldMk cId="2701760186" sldId="833"/>
        </pc:sldMkLst>
        <pc:picChg chg="mod">
          <ac:chgData name="Kiela Karina Moreno" userId="S::mpg7143@ads.northwestern.edu::1e897b35-0dd4-497a-9ab7-7a37e6c39d5b" providerId="AD" clId="Web-{8190AEE8-36AC-D76C-A98D-280A45FA168B}" dt="2024-02-13T18:20:27.688" v="277"/>
          <ac:picMkLst>
            <pc:docMk/>
            <pc:sldMk cId="2701760186" sldId="833"/>
            <ac:picMk id="47" creationId="{C13E9A9E-F1C1-0883-4F89-871783B27D2F}"/>
          </ac:picMkLst>
        </pc:picChg>
      </pc:sldChg>
      <pc:sldChg chg="delSp">
        <pc:chgData name="Kiela Karina Moreno" userId="S::mpg7143@ads.northwestern.edu::1e897b35-0dd4-497a-9ab7-7a37e6c39d5b" providerId="AD" clId="Web-{8190AEE8-36AC-D76C-A98D-280A45FA168B}" dt="2024-02-13T18:10:26.057" v="163"/>
        <pc:sldMkLst>
          <pc:docMk/>
          <pc:sldMk cId="1341783838" sldId="848"/>
        </pc:sldMkLst>
        <pc:spChg chg="del">
          <ac:chgData name="Kiela Karina Moreno" userId="S::mpg7143@ads.northwestern.edu::1e897b35-0dd4-497a-9ab7-7a37e6c39d5b" providerId="AD" clId="Web-{8190AEE8-36AC-D76C-A98D-280A45FA168B}" dt="2024-02-13T18:10:26.057" v="163"/>
          <ac:spMkLst>
            <pc:docMk/>
            <pc:sldMk cId="1341783838" sldId="848"/>
            <ac:spMk id="3" creationId="{B42B277B-F937-CA14-296D-CB742577E78B}"/>
          </ac:spMkLst>
        </pc:spChg>
      </pc:sldChg>
      <pc:sldChg chg="delSp">
        <pc:chgData name="Kiela Karina Moreno" userId="S::mpg7143@ads.northwestern.edu::1e897b35-0dd4-497a-9ab7-7a37e6c39d5b" providerId="AD" clId="Web-{8190AEE8-36AC-D76C-A98D-280A45FA168B}" dt="2024-02-13T18:23:57.585" v="294"/>
        <pc:sldMkLst>
          <pc:docMk/>
          <pc:sldMk cId="3558960164" sldId="849"/>
        </pc:sldMkLst>
        <pc:spChg chg="del">
          <ac:chgData name="Kiela Karina Moreno" userId="S::mpg7143@ads.northwestern.edu::1e897b35-0dd4-497a-9ab7-7a37e6c39d5b" providerId="AD" clId="Web-{8190AEE8-36AC-D76C-A98D-280A45FA168B}" dt="2024-02-13T18:23:57.585" v="294"/>
          <ac:spMkLst>
            <pc:docMk/>
            <pc:sldMk cId="3558960164" sldId="849"/>
            <ac:spMk id="3" creationId="{48256BD7-2B58-B243-D788-FA2969900047}"/>
          </ac:spMkLst>
        </pc:spChg>
      </pc:sldChg>
      <pc:sldChg chg="modSp">
        <pc:chgData name="Kiela Karina Moreno" userId="S::mpg7143@ads.northwestern.edu::1e897b35-0dd4-497a-9ab7-7a37e6c39d5b" providerId="AD" clId="Web-{8190AEE8-36AC-D76C-A98D-280A45FA168B}" dt="2024-02-13T21:24:03.910" v="875" actId="20577"/>
        <pc:sldMkLst>
          <pc:docMk/>
          <pc:sldMk cId="777023516" sldId="851"/>
        </pc:sldMkLst>
        <pc:spChg chg="mod">
          <ac:chgData name="Kiela Karina Moreno" userId="S::mpg7143@ads.northwestern.edu::1e897b35-0dd4-497a-9ab7-7a37e6c39d5b" providerId="AD" clId="Web-{8190AEE8-36AC-D76C-A98D-280A45FA168B}" dt="2024-02-13T21:24:03.910" v="875" actId="20577"/>
          <ac:spMkLst>
            <pc:docMk/>
            <pc:sldMk cId="777023516" sldId="851"/>
            <ac:spMk id="3" creationId="{A068D812-8336-152D-B896-A021E583E31E}"/>
          </ac:spMkLst>
        </pc:spChg>
      </pc:sldChg>
      <pc:sldChg chg="addSp delSp modSp">
        <pc:chgData name="Kiela Karina Moreno" userId="S::mpg7143@ads.northwestern.edu::1e897b35-0dd4-497a-9ab7-7a37e6c39d5b" providerId="AD" clId="Web-{8190AEE8-36AC-D76C-A98D-280A45FA168B}" dt="2024-02-13T21:37:59.130" v="1080" actId="20577"/>
        <pc:sldMkLst>
          <pc:docMk/>
          <pc:sldMk cId="1881092197" sldId="855"/>
        </pc:sldMkLst>
        <pc:spChg chg="add del mod">
          <ac:chgData name="Kiela Karina Moreno" userId="S::mpg7143@ads.northwestern.edu::1e897b35-0dd4-497a-9ab7-7a37e6c39d5b" providerId="AD" clId="Web-{8190AEE8-36AC-D76C-A98D-280A45FA168B}" dt="2024-02-13T21:27:04.058" v="933"/>
          <ac:spMkLst>
            <pc:docMk/>
            <pc:sldMk cId="1881092197" sldId="855"/>
            <ac:spMk id="2" creationId="{3211BF8C-E76B-5DCC-741A-A8EC35718AC9}"/>
          </ac:spMkLst>
        </pc:spChg>
        <pc:spChg chg="add del mod">
          <ac:chgData name="Kiela Karina Moreno" userId="S::mpg7143@ads.northwestern.edu::1e897b35-0dd4-497a-9ab7-7a37e6c39d5b" providerId="AD" clId="Web-{8190AEE8-36AC-D76C-A98D-280A45FA168B}" dt="2024-02-13T21:37:59.130" v="1080" actId="20577"/>
          <ac:spMkLst>
            <pc:docMk/>
            <pc:sldMk cId="1881092197" sldId="855"/>
            <ac:spMk id="3" creationId="{23C63934-04CC-F21C-59FC-C580A9F65EC3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21:27:04.058" v="935"/>
          <ac:spMkLst>
            <pc:docMk/>
            <pc:sldMk cId="1881092197" sldId="855"/>
            <ac:spMk id="4" creationId="{F175744C-DFFD-D823-3D18-A60497D3B1E4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21:27:04.058" v="936"/>
          <ac:spMkLst>
            <pc:docMk/>
            <pc:sldMk cId="1881092197" sldId="855"/>
            <ac:spMk id="7" creationId="{509AC272-869E-2AE8-8376-D1E67AF91AD6}"/>
          </ac:spMkLst>
        </pc:spChg>
        <pc:spChg chg="add del mod">
          <ac:chgData name="Kiela Karina Moreno" userId="S::mpg7143@ads.northwestern.edu::1e897b35-0dd4-497a-9ab7-7a37e6c39d5b" providerId="AD" clId="Web-{8190AEE8-36AC-D76C-A98D-280A45FA168B}" dt="2024-02-13T21:27:51.060" v="964"/>
          <ac:spMkLst>
            <pc:docMk/>
            <pc:sldMk cId="1881092197" sldId="855"/>
            <ac:spMk id="9" creationId="{C850D7A8-6021-7083-F66D-8B12ADD8B461}"/>
          </ac:spMkLst>
        </pc:spChg>
        <pc:spChg chg="add del mod">
          <ac:chgData name="Kiela Karina Moreno" userId="S::mpg7143@ads.northwestern.edu::1e897b35-0dd4-497a-9ab7-7a37e6c39d5b" providerId="AD" clId="Web-{8190AEE8-36AC-D76C-A98D-280A45FA168B}" dt="2024-02-13T21:27:04.058" v="934"/>
          <ac:spMkLst>
            <pc:docMk/>
            <pc:sldMk cId="1881092197" sldId="855"/>
            <ac:spMk id="11" creationId="{875A422B-B203-8A31-5165-CA1BED5499CD}"/>
          </ac:spMkLst>
        </pc:spChg>
        <pc:spChg chg="add del mod">
          <ac:chgData name="Kiela Karina Moreno" userId="S::mpg7143@ads.northwestern.edu::1e897b35-0dd4-497a-9ab7-7a37e6c39d5b" providerId="AD" clId="Web-{8190AEE8-36AC-D76C-A98D-280A45FA168B}" dt="2024-02-13T21:27:04.058" v="933"/>
          <ac:spMkLst>
            <pc:docMk/>
            <pc:sldMk cId="1881092197" sldId="855"/>
            <ac:spMk id="13" creationId="{8C917D4B-8307-3B59-5E15-6716CE63E457}"/>
          </ac:spMkLst>
        </pc:spChg>
        <pc:picChg chg="add del mod">
          <ac:chgData name="Kiela Karina Moreno" userId="S::mpg7143@ads.northwestern.edu::1e897b35-0dd4-497a-9ab7-7a37e6c39d5b" providerId="AD" clId="Web-{8190AEE8-36AC-D76C-A98D-280A45FA168B}" dt="2024-02-13T21:27:04.058" v="937"/>
          <ac:picMkLst>
            <pc:docMk/>
            <pc:sldMk cId="1881092197" sldId="855"/>
            <ac:picMk id="6" creationId="{A1D15831-3EEA-F72A-127E-8E266DC22CAE}"/>
          </ac:picMkLst>
        </pc:picChg>
      </pc:sldChg>
      <pc:sldChg chg="addSp modSp ord">
        <pc:chgData name="Kiela Karina Moreno" userId="S::mpg7143@ads.northwestern.edu::1e897b35-0dd4-497a-9ab7-7a37e6c39d5b" providerId="AD" clId="Web-{8190AEE8-36AC-D76C-A98D-280A45FA168B}" dt="2024-02-13T18:27:25.171" v="308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8190AEE8-36AC-D76C-A98D-280A45FA168B}" dt="2024-02-13T18:10:45.980" v="164" actId="14100"/>
          <ac:spMkLst>
            <pc:docMk/>
            <pc:sldMk cId="2820585005" sldId="856"/>
            <ac:spMk id="5" creationId="{128C267F-D634-3898-5F27-33D0A5C5B94E}"/>
          </ac:spMkLst>
        </pc:spChg>
        <pc:picChg chg="add mod ord">
          <ac:chgData name="Kiela Karina Moreno" userId="S::mpg7143@ads.northwestern.edu::1e897b35-0dd4-497a-9ab7-7a37e6c39d5b" providerId="AD" clId="Web-{8190AEE8-36AC-D76C-A98D-280A45FA168B}" dt="2024-02-13T18:27:25.171" v="308"/>
          <ac:picMkLst>
            <pc:docMk/>
            <pc:sldMk cId="2820585005" sldId="856"/>
            <ac:picMk id="4" creationId="{D871A503-23FB-EE33-8CF4-FDC8DA5B2A6A}"/>
          </ac:picMkLst>
        </pc:picChg>
      </pc:sldChg>
      <pc:sldChg chg="modSp">
        <pc:chgData name="Kiela Karina Moreno" userId="S::mpg7143@ads.northwestern.edu::1e897b35-0dd4-497a-9ab7-7a37e6c39d5b" providerId="AD" clId="Web-{8190AEE8-36AC-D76C-A98D-280A45FA168B}" dt="2024-02-13T21:22:41.048" v="851" actId="1076"/>
        <pc:sldMkLst>
          <pc:docMk/>
          <pc:sldMk cId="2947401908" sldId="865"/>
        </pc:sldMkLst>
        <pc:spChg chg="mod">
          <ac:chgData name="Kiela Karina Moreno" userId="S::mpg7143@ads.northwestern.edu::1e897b35-0dd4-497a-9ab7-7a37e6c39d5b" providerId="AD" clId="Web-{8190AEE8-36AC-D76C-A98D-280A45FA168B}" dt="2024-02-13T21:22:41.048" v="851" actId="1076"/>
          <ac:spMkLst>
            <pc:docMk/>
            <pc:sldMk cId="2947401908" sldId="865"/>
            <ac:spMk id="5" creationId="{D7C0471C-AE8C-3A92-D5E6-7ECF93281ABE}"/>
          </ac:spMkLst>
        </pc:spChg>
      </pc:sldChg>
      <pc:sldChg chg="modSp">
        <pc:chgData name="Kiela Karina Moreno" userId="S::mpg7143@ads.northwestern.edu::1e897b35-0dd4-497a-9ab7-7a37e6c39d5b" providerId="AD" clId="Web-{8190AEE8-36AC-D76C-A98D-280A45FA168B}" dt="2024-02-13T17:54:01.320" v="0"/>
        <pc:sldMkLst>
          <pc:docMk/>
          <pc:sldMk cId="1914631794" sldId="866"/>
        </pc:sldMkLst>
        <pc:picChg chg="ord">
          <ac:chgData name="Kiela Karina Moreno" userId="S::mpg7143@ads.northwestern.edu::1e897b35-0dd4-497a-9ab7-7a37e6c39d5b" providerId="AD" clId="Web-{8190AEE8-36AC-D76C-A98D-280A45FA168B}" dt="2024-02-13T17:54:01.320" v="0"/>
          <ac:picMkLst>
            <pc:docMk/>
            <pc:sldMk cId="1914631794" sldId="866"/>
            <ac:picMk id="11" creationId="{5805DF79-E645-A5A2-5559-A460AAA4DE6D}"/>
          </ac:picMkLst>
        </pc:picChg>
      </pc:sldChg>
      <pc:sldChg chg="modSp">
        <pc:chgData name="Kiela Karina Moreno" userId="S::mpg7143@ads.northwestern.edu::1e897b35-0dd4-497a-9ab7-7a37e6c39d5b" providerId="AD" clId="Web-{8190AEE8-36AC-D76C-A98D-280A45FA168B}" dt="2024-02-13T18:14:49.285" v="241" actId="20577"/>
        <pc:sldMkLst>
          <pc:docMk/>
          <pc:sldMk cId="1548499057" sldId="867"/>
        </pc:sldMkLst>
        <pc:spChg chg="mod">
          <ac:chgData name="Kiela Karina Moreno" userId="S::mpg7143@ads.northwestern.edu::1e897b35-0dd4-497a-9ab7-7a37e6c39d5b" providerId="AD" clId="Web-{8190AEE8-36AC-D76C-A98D-280A45FA168B}" dt="2024-02-13T18:14:49.285" v="241" actId="20577"/>
          <ac:spMkLst>
            <pc:docMk/>
            <pc:sldMk cId="1548499057" sldId="867"/>
            <ac:spMk id="7" creationId="{7C5994FE-ED51-DDC2-A1E8-43D1A63531A2}"/>
          </ac:spMkLst>
        </pc:spChg>
      </pc:sldChg>
      <pc:sldChg chg="addCm">
        <pc:chgData name="Kiela Karina Moreno" userId="S::mpg7143@ads.northwestern.edu::1e897b35-0dd4-497a-9ab7-7a37e6c39d5b" providerId="AD" clId="Web-{8190AEE8-36AC-D76C-A98D-280A45FA168B}" dt="2024-02-13T21:20:28.746" v="764"/>
        <pc:sldMkLst>
          <pc:docMk/>
          <pc:sldMk cId="855149919" sldId="87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Kiela Karina Moreno" userId="S::mpg7143@ads.northwestern.edu::1e897b35-0dd4-497a-9ab7-7a37e6c39d5b" providerId="AD" clId="Web-{8190AEE8-36AC-D76C-A98D-280A45FA168B}" dt="2024-02-13T21:20:28.746" v="764"/>
              <pc2:cmMkLst xmlns:pc2="http://schemas.microsoft.com/office/powerpoint/2019/9/main/command">
                <pc:docMk/>
                <pc:sldMk cId="855149919" sldId="870"/>
                <pc2:cmMk id="{7E925EE6-1B1E-434B-AC76-087FC91C27E5}"/>
              </pc2:cmMkLst>
            </pc226:cmChg>
          </p:ext>
        </pc:extLst>
      </pc:sldChg>
      <pc:sldChg chg="addSp delSp modSp">
        <pc:chgData name="Kiela Karina Moreno" userId="S::mpg7143@ads.northwestern.edu::1e897b35-0dd4-497a-9ab7-7a37e6c39d5b" providerId="AD" clId="Web-{8190AEE8-36AC-D76C-A98D-280A45FA168B}" dt="2024-02-13T21:17:48.817" v="740" actId="1076"/>
        <pc:sldMkLst>
          <pc:docMk/>
          <pc:sldMk cId="2762163785" sldId="871"/>
        </pc:sldMkLst>
        <pc:spChg chg="add del">
          <ac:chgData name="Kiela Karina Moreno" userId="S::mpg7143@ads.northwestern.edu::1e897b35-0dd4-497a-9ab7-7a37e6c39d5b" providerId="AD" clId="Web-{8190AEE8-36AC-D76C-A98D-280A45FA168B}" dt="2024-02-13T21:10:22.488" v="311"/>
          <ac:spMkLst>
            <pc:docMk/>
            <pc:sldMk cId="2762163785" sldId="871"/>
            <ac:spMk id="4" creationId="{85E2607B-55BB-A875-A36F-620352CECB6D}"/>
          </ac:spMkLst>
        </pc:spChg>
        <pc:spChg chg="add mod">
          <ac:chgData name="Kiela Karina Moreno" userId="S::mpg7143@ads.northwestern.edu::1e897b35-0dd4-497a-9ab7-7a37e6c39d5b" providerId="AD" clId="Web-{8190AEE8-36AC-D76C-A98D-280A45FA168B}" dt="2024-02-13T21:17:48.817" v="740" actId="1076"/>
          <ac:spMkLst>
            <pc:docMk/>
            <pc:sldMk cId="2762163785" sldId="871"/>
            <ac:spMk id="6" creationId="{AF9017BA-C0A8-6BEE-2C56-82860CA64E5C}"/>
          </ac:spMkLst>
        </pc:spChg>
      </pc:sldChg>
      <pc:sldChg chg="addSp modSp">
        <pc:chgData name="Kiela Karina Moreno" userId="S::mpg7143@ads.northwestern.edu::1e897b35-0dd4-497a-9ab7-7a37e6c39d5b" providerId="AD" clId="Web-{8190AEE8-36AC-D76C-A98D-280A45FA168B}" dt="2024-02-13T21:23:49.910" v="873"/>
        <pc:sldMkLst>
          <pc:docMk/>
          <pc:sldMk cId="4226091729" sldId="872"/>
        </pc:sldMkLst>
        <pc:spChg chg="add mod">
          <ac:chgData name="Kiela Karina Moreno" userId="S::mpg7143@ads.northwestern.edu::1e897b35-0dd4-497a-9ab7-7a37e6c39d5b" providerId="AD" clId="Web-{8190AEE8-36AC-D76C-A98D-280A45FA168B}" dt="2024-02-13T21:18:56.164" v="749" actId="1076"/>
          <ac:spMkLst>
            <pc:docMk/>
            <pc:sldMk cId="4226091729" sldId="872"/>
            <ac:spMk id="4" creationId="{130B00A8-3B32-022D-BFC3-991389FEF984}"/>
          </ac:spMkLst>
        </pc:spChg>
        <pc:picChg chg="add mod">
          <ac:chgData name="Kiela Karina Moreno" userId="S::mpg7143@ads.northwestern.edu::1e897b35-0dd4-497a-9ab7-7a37e6c39d5b" providerId="AD" clId="Web-{8190AEE8-36AC-D76C-A98D-280A45FA168B}" dt="2024-02-13T21:23:49.910" v="873"/>
          <ac:picMkLst>
            <pc:docMk/>
            <pc:sldMk cId="4226091729" sldId="872"/>
            <ac:picMk id="7" creationId="{2CEF1256-C229-3985-E8B2-1D816865845D}"/>
          </ac:picMkLst>
        </pc:picChg>
      </pc:sldChg>
      <pc:sldChg chg="addSp delSp modSp mod ord setBg">
        <pc:chgData name="Kiela Karina Moreno" userId="S::mpg7143@ads.northwestern.edu::1e897b35-0dd4-497a-9ab7-7a37e6c39d5b" providerId="AD" clId="Web-{8190AEE8-36AC-D76C-A98D-280A45FA168B}" dt="2024-02-13T21:24:40.771" v="877" actId="20577"/>
        <pc:sldMkLst>
          <pc:docMk/>
          <pc:sldMk cId="2503595924" sldId="873"/>
        </pc:sldMkLst>
        <pc:spChg chg="add mod">
          <ac:chgData name="Kiela Karina Moreno" userId="S::mpg7143@ads.northwestern.edu::1e897b35-0dd4-497a-9ab7-7a37e6c39d5b" providerId="AD" clId="Web-{8190AEE8-36AC-D76C-A98D-280A45FA168B}" dt="2024-02-13T18:15:02.661" v="242" actId="20577"/>
          <ac:spMkLst>
            <pc:docMk/>
            <pc:sldMk cId="2503595924" sldId="873"/>
            <ac:spMk id="3" creationId="{36FA345A-9115-2EC6-1F35-8D4271906D3B}"/>
          </ac:spMkLst>
        </pc:spChg>
        <pc:spChg chg="add mod">
          <ac:chgData name="Kiela Karina Moreno" userId="S::mpg7143@ads.northwestern.edu::1e897b35-0dd4-497a-9ab7-7a37e6c39d5b" providerId="AD" clId="Web-{8190AEE8-36AC-D76C-A98D-280A45FA168B}" dt="2024-02-13T21:24:40.771" v="877" actId="20577"/>
          <ac:spMkLst>
            <pc:docMk/>
            <pc:sldMk cId="2503595924" sldId="873"/>
            <ac:spMk id="6" creationId="{3BAEDEA5-EBC0-20F3-5139-AA49CBA25633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18:01:47.117" v="38"/>
          <ac:spMkLst>
            <pc:docMk/>
            <pc:sldMk cId="2503595924" sldId="873"/>
            <ac:spMk id="7" creationId="{B87BC47F-4826-E4EE-3985-F0A64A0768AB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18:01:43.555" v="37"/>
          <ac:spMkLst>
            <pc:docMk/>
            <pc:sldMk cId="2503595924" sldId="873"/>
            <ac:spMk id="8" creationId="{846C8B14-53C9-A53A-DD90-5B5574EF0F3F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18:01:39.430" v="36"/>
          <ac:spMkLst>
            <pc:docMk/>
            <pc:sldMk cId="2503595924" sldId="873"/>
            <ac:spMk id="9" creationId="{F2A74485-C300-D6D4-88B8-38C5E66D1DE2}"/>
          </ac:spMkLst>
        </pc:spChg>
        <pc:spChg chg="add">
          <ac:chgData name="Kiela Karina Moreno" userId="S::mpg7143@ads.northwestern.edu::1e897b35-0dd4-497a-9ab7-7a37e6c39d5b" providerId="AD" clId="Web-{8190AEE8-36AC-D76C-A98D-280A45FA168B}" dt="2024-02-13T17:59:39.222" v="18"/>
          <ac:spMkLst>
            <pc:docMk/>
            <pc:sldMk cId="2503595924" sldId="873"/>
            <ac:spMk id="10" creationId="{FB33DC6A-1F1C-4A06-834E-CFF88F1C0BB9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18:01:35.148" v="35"/>
          <ac:spMkLst>
            <pc:docMk/>
            <pc:sldMk cId="2503595924" sldId="873"/>
            <ac:spMk id="11" creationId="{9CBA2734-0028-F543-C966-B82481A26666}"/>
          </ac:spMkLst>
        </pc:spChg>
        <pc:spChg chg="add">
          <ac:chgData name="Kiela Karina Moreno" userId="S::mpg7143@ads.northwestern.edu::1e897b35-0dd4-497a-9ab7-7a37e6c39d5b" providerId="AD" clId="Web-{8190AEE8-36AC-D76C-A98D-280A45FA168B}" dt="2024-02-13T17:59:39.222" v="18"/>
          <ac:spMkLst>
            <pc:docMk/>
            <pc:sldMk cId="2503595924" sldId="873"/>
            <ac:spMk id="12" creationId="{0FE1D5CF-87B8-4A8A-AD3C-01D06A60769B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18:01:29.273" v="30"/>
          <ac:spMkLst>
            <pc:docMk/>
            <pc:sldMk cId="2503595924" sldId="873"/>
            <ac:spMk id="13" creationId="{3D227146-DF8B-55F3-EABD-6A3C4ABF94E5}"/>
          </ac:spMkLst>
        </pc:spChg>
        <pc:spChg chg="add">
          <ac:chgData name="Kiela Karina Moreno" userId="S::mpg7143@ads.northwestern.edu::1e897b35-0dd4-497a-9ab7-7a37e6c39d5b" providerId="AD" clId="Web-{8190AEE8-36AC-D76C-A98D-280A45FA168B}" dt="2024-02-13T17:59:39.222" v="18"/>
          <ac:spMkLst>
            <pc:docMk/>
            <pc:sldMk cId="2503595924" sldId="873"/>
            <ac:spMk id="14" creationId="{60926200-45C2-41E9-839F-31CD5FE4CD59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18:01:29.351" v="32"/>
          <ac:spMkLst>
            <pc:docMk/>
            <pc:sldMk cId="2503595924" sldId="873"/>
            <ac:spMk id="15" creationId="{A03F0732-FD6A-8D83-5711-A84D23ADFC9E}"/>
          </ac:spMkLst>
        </pc:spChg>
        <pc:spChg chg="add mod">
          <ac:chgData name="Kiela Karina Moreno" userId="S::mpg7143@ads.northwestern.edu::1e897b35-0dd4-497a-9ab7-7a37e6c39d5b" providerId="AD" clId="Web-{8190AEE8-36AC-D76C-A98D-280A45FA168B}" dt="2024-02-13T18:15:11.442" v="243"/>
          <ac:spMkLst>
            <pc:docMk/>
            <pc:sldMk cId="2503595924" sldId="873"/>
            <ac:spMk id="16" creationId="{AF2F604E-43BE-4DC3-B983-E071523364F8}"/>
          </ac:spMkLst>
        </pc:spChg>
        <pc:spChg chg="add del">
          <ac:chgData name="Kiela Karina Moreno" userId="S::mpg7143@ads.northwestern.edu::1e897b35-0dd4-497a-9ab7-7a37e6c39d5b" providerId="AD" clId="Web-{8190AEE8-36AC-D76C-A98D-280A45FA168B}" dt="2024-02-13T18:01:29.414" v="34"/>
          <ac:spMkLst>
            <pc:docMk/>
            <pc:sldMk cId="2503595924" sldId="873"/>
            <ac:spMk id="17" creationId="{51D96CC9-AD58-4B98-D87A-342D1CDC6C9B}"/>
          </ac:spMkLst>
        </pc:spChg>
        <pc:spChg chg="add">
          <ac:chgData name="Kiela Karina Moreno" userId="S::mpg7143@ads.northwestern.edu::1e897b35-0dd4-497a-9ab7-7a37e6c39d5b" providerId="AD" clId="Web-{8190AEE8-36AC-D76C-A98D-280A45FA168B}" dt="2024-02-13T17:59:39.222" v="18"/>
          <ac:spMkLst>
            <pc:docMk/>
            <pc:sldMk cId="2503595924" sldId="873"/>
            <ac:spMk id="18" creationId="{08C9B587-E65E-4B52-B37C-ABEBB6E87928}"/>
          </ac:spMkLst>
        </pc:spChg>
        <pc:picChg chg="add mod">
          <ac:chgData name="Kiela Karina Moreno" userId="S::mpg7143@ads.northwestern.edu::1e897b35-0dd4-497a-9ab7-7a37e6c39d5b" providerId="AD" clId="Web-{8190AEE8-36AC-D76C-A98D-280A45FA168B}" dt="2024-02-13T17:59:39.222" v="18"/>
          <ac:picMkLst>
            <pc:docMk/>
            <pc:sldMk cId="2503595924" sldId="873"/>
            <ac:picMk id="4" creationId="{EBF9B272-AEE4-9141-39AB-699D3D5A72F2}"/>
          </ac:picMkLst>
        </pc:picChg>
        <pc:picChg chg="add mod">
          <ac:chgData name="Kiela Karina Moreno" userId="S::mpg7143@ads.northwestern.edu::1e897b35-0dd4-497a-9ab7-7a37e6c39d5b" providerId="AD" clId="Web-{8190AEE8-36AC-D76C-A98D-280A45FA168B}" dt="2024-02-13T17:59:39.222" v="18"/>
          <ac:picMkLst>
            <pc:docMk/>
            <pc:sldMk cId="2503595924" sldId="873"/>
            <ac:picMk id="5" creationId="{95020045-F97B-E764-F49B-14AEB3152CCE}"/>
          </ac:picMkLst>
        </pc:picChg>
      </pc:sldChg>
      <pc:sldChg chg="modSp">
        <pc:chgData name="Kiela Karina Moreno" userId="S::mpg7143@ads.northwestern.edu::1e897b35-0dd4-497a-9ab7-7a37e6c39d5b" providerId="AD" clId="Web-{8190AEE8-36AC-D76C-A98D-280A45FA168B}" dt="2024-02-13T18:23:48.054" v="293" actId="20577"/>
        <pc:sldMkLst>
          <pc:docMk/>
          <pc:sldMk cId="3352784023" sldId="874"/>
        </pc:sldMkLst>
        <pc:spChg chg="mod">
          <ac:chgData name="Kiela Karina Moreno" userId="S::mpg7143@ads.northwestern.edu::1e897b35-0dd4-497a-9ab7-7a37e6c39d5b" providerId="AD" clId="Web-{8190AEE8-36AC-D76C-A98D-280A45FA168B}" dt="2024-02-13T18:23:48.054" v="293" actId="20577"/>
          <ac:spMkLst>
            <pc:docMk/>
            <pc:sldMk cId="3352784023" sldId="874"/>
            <ac:spMk id="2" creationId="{4750E6DC-BCB6-7021-74E4-A553695C7B5E}"/>
          </ac:spMkLst>
        </pc:spChg>
      </pc:sldChg>
      <pc:sldChg chg="delSp modSp add ord replId">
        <pc:chgData name="Kiela Karina Moreno" userId="S::mpg7143@ads.northwestern.edu::1e897b35-0dd4-497a-9ab7-7a37e6c39d5b" providerId="AD" clId="Web-{8190AEE8-36AC-D76C-A98D-280A45FA168B}" dt="2024-02-13T18:24:57.963" v="297" actId="1076"/>
        <pc:sldMkLst>
          <pc:docMk/>
          <pc:sldMk cId="1858777902" sldId="877"/>
        </pc:sldMkLst>
        <pc:spChg chg="mod">
          <ac:chgData name="Kiela Karina Moreno" userId="S::mpg7143@ads.northwestern.edu::1e897b35-0dd4-497a-9ab7-7a37e6c39d5b" providerId="AD" clId="Web-{8190AEE8-36AC-D76C-A98D-280A45FA168B}" dt="2024-02-13T18:24:52.181" v="296" actId="14100"/>
          <ac:spMkLst>
            <pc:docMk/>
            <pc:sldMk cId="1858777902" sldId="877"/>
            <ac:spMk id="2" creationId="{88C03B97-F91F-5C26-7B79-00E0DB69BAF4}"/>
          </ac:spMkLst>
        </pc:spChg>
        <pc:spChg chg="mod">
          <ac:chgData name="Kiela Karina Moreno" userId="S::mpg7143@ads.northwestern.edu::1e897b35-0dd4-497a-9ab7-7a37e6c39d5b" providerId="AD" clId="Web-{8190AEE8-36AC-D76C-A98D-280A45FA168B}" dt="2024-02-13T18:24:57.963" v="297" actId="1076"/>
          <ac:spMkLst>
            <pc:docMk/>
            <pc:sldMk cId="1858777902" sldId="877"/>
            <ac:spMk id="3" creationId="{B1427D6B-E22E-C7B2-7E6C-15F100C2036F}"/>
          </ac:spMkLst>
        </pc:spChg>
        <pc:spChg chg="del">
          <ac:chgData name="Kiela Karina Moreno" userId="S::mpg7143@ads.northwestern.edu::1e897b35-0dd4-497a-9ab7-7a37e6c39d5b" providerId="AD" clId="Web-{8190AEE8-36AC-D76C-A98D-280A45FA168B}" dt="2024-02-13T18:19:34.092" v="257"/>
          <ac:spMkLst>
            <pc:docMk/>
            <pc:sldMk cId="1858777902" sldId="877"/>
            <ac:spMk id="10" creationId="{2B1CE8A8-2FF3-41D9-8EBB-20BAFAA12885}"/>
          </ac:spMkLst>
        </pc:spChg>
      </pc:sldChg>
      <pc:sldChg chg="add del replId">
        <pc:chgData name="Kiela Karina Moreno" userId="S::mpg7143@ads.northwestern.edu::1e897b35-0dd4-497a-9ab7-7a37e6c39d5b" providerId="AD" clId="Web-{8190AEE8-36AC-D76C-A98D-280A45FA168B}" dt="2024-02-13T21:23:28.893" v="870"/>
        <pc:sldMkLst>
          <pc:docMk/>
          <pc:sldMk cId="626703817" sldId="879"/>
        </pc:sldMkLst>
      </pc:sldChg>
    </pc:docChg>
  </pc:docChgLst>
  <pc:docChgLst>
    <pc:chgData name="Kiela Karina Moreno" userId="S::mpg7143@ads.northwestern.edu::1e897b35-0dd4-497a-9ab7-7a37e6c39d5b" providerId="AD" clId="Web-{3293BAB3-8219-41FE-CB6C-70D07FF13DE4}"/>
    <pc:docChg chg="addSld delSld modSld sldOrd">
      <pc:chgData name="Kiela Karina Moreno" userId="S::mpg7143@ads.northwestern.edu::1e897b35-0dd4-497a-9ab7-7a37e6c39d5b" providerId="AD" clId="Web-{3293BAB3-8219-41FE-CB6C-70D07FF13DE4}" dt="2024-01-26T22:07:52.012" v="450" actId="1076"/>
      <pc:docMkLst>
        <pc:docMk/>
      </pc:docMkLst>
      <pc:sldChg chg="modSp add del">
        <pc:chgData name="Kiela Karina Moreno" userId="S::mpg7143@ads.northwestern.edu::1e897b35-0dd4-497a-9ab7-7a37e6c39d5b" providerId="AD" clId="Web-{3293BAB3-8219-41FE-CB6C-70D07FF13DE4}" dt="2024-01-26T22:01:50.082" v="411" actId="20577"/>
        <pc:sldMkLst>
          <pc:docMk/>
          <pc:sldMk cId="4044691067" sldId="283"/>
        </pc:sldMkLst>
        <pc:spChg chg="mod">
          <ac:chgData name="Kiela Karina Moreno" userId="S::mpg7143@ads.northwestern.edu::1e897b35-0dd4-497a-9ab7-7a37e6c39d5b" providerId="AD" clId="Web-{3293BAB3-8219-41FE-CB6C-70D07FF13DE4}" dt="2024-01-26T22:01:50.082" v="411" actId="20577"/>
          <ac:spMkLst>
            <pc:docMk/>
            <pc:sldMk cId="4044691067" sldId="283"/>
            <ac:spMk id="5" creationId="{F0B2A739-51C3-9CBF-7F6C-3EE69AAB6035}"/>
          </ac:spMkLst>
        </pc:spChg>
        <pc:spChg chg="mod">
          <ac:chgData name="Kiela Karina Moreno" userId="S::mpg7143@ads.northwestern.edu::1e897b35-0dd4-497a-9ab7-7a37e6c39d5b" providerId="AD" clId="Web-{3293BAB3-8219-41FE-CB6C-70D07FF13DE4}" dt="2024-01-26T21:22:27.542" v="11" actId="20577"/>
          <ac:spMkLst>
            <pc:docMk/>
            <pc:sldMk cId="4044691067" sldId="283"/>
            <ac:spMk id="16386" creationId="{00000000-0000-0000-0000-000000000000}"/>
          </ac:spMkLst>
        </pc:spChg>
      </pc:sldChg>
      <pc:sldChg chg="ord">
        <pc:chgData name="Kiela Karina Moreno" userId="S::mpg7143@ads.northwestern.edu::1e897b35-0dd4-497a-9ab7-7a37e6c39d5b" providerId="AD" clId="Web-{3293BAB3-8219-41FE-CB6C-70D07FF13DE4}" dt="2024-01-26T21:54:12.790" v="387"/>
        <pc:sldMkLst>
          <pc:docMk/>
          <pc:sldMk cId="1234199256" sldId="289"/>
        </pc:sldMkLst>
      </pc:sldChg>
      <pc:sldChg chg="modSp">
        <pc:chgData name="Kiela Karina Moreno" userId="S::mpg7143@ads.northwestern.edu::1e897b35-0dd4-497a-9ab7-7a37e6c39d5b" providerId="AD" clId="Web-{3293BAB3-8219-41FE-CB6C-70D07FF13DE4}" dt="2024-01-26T21:32:10.103" v="90" actId="20577"/>
        <pc:sldMkLst>
          <pc:docMk/>
          <pc:sldMk cId="3419957415" sldId="829"/>
        </pc:sldMkLst>
        <pc:spChg chg="mod">
          <ac:chgData name="Kiela Karina Moreno" userId="S::mpg7143@ads.northwestern.edu::1e897b35-0dd4-497a-9ab7-7a37e6c39d5b" providerId="AD" clId="Web-{3293BAB3-8219-41FE-CB6C-70D07FF13DE4}" dt="2024-01-26T21:32:05.259" v="89" actId="20577"/>
          <ac:spMkLst>
            <pc:docMk/>
            <pc:sldMk cId="3419957415" sldId="829"/>
            <ac:spMk id="51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3293BAB3-8219-41FE-CB6C-70D07FF13DE4}" dt="2024-01-26T21:32:10.103" v="90" actId="20577"/>
          <ac:spMkLst>
            <pc:docMk/>
            <pc:sldMk cId="3419957415" sldId="829"/>
            <ac:spMk id="52" creationId="{00000000-0000-0000-0000-000000000000}"/>
          </ac:spMkLst>
        </pc:spChg>
        <pc:spChg chg="mod">
          <ac:chgData name="Kiela Karina Moreno" userId="S::mpg7143@ads.northwestern.edu::1e897b35-0dd4-497a-9ab7-7a37e6c39d5b" providerId="AD" clId="Web-{3293BAB3-8219-41FE-CB6C-70D07FF13DE4}" dt="2024-01-26T21:32:01.993" v="88" actId="20577"/>
          <ac:spMkLst>
            <pc:docMk/>
            <pc:sldMk cId="3419957415" sldId="829"/>
            <ac:spMk id="55" creationId="{00000000-0000-0000-0000-000000000000}"/>
          </ac:spMkLst>
        </pc:spChg>
      </pc:sldChg>
      <pc:sldChg chg="modSp">
        <pc:chgData name="Kiela Karina Moreno" userId="S::mpg7143@ads.northwestern.edu::1e897b35-0dd4-497a-9ab7-7a37e6c39d5b" providerId="AD" clId="Web-{3293BAB3-8219-41FE-CB6C-70D07FF13DE4}" dt="2024-01-26T22:07:14.699" v="443" actId="1076"/>
        <pc:sldMkLst>
          <pc:docMk/>
          <pc:sldMk cId="4099246298" sldId="830"/>
        </pc:sldMkLst>
        <pc:spChg chg="mod">
          <ac:chgData name="Kiela Karina Moreno" userId="S::mpg7143@ads.northwestern.edu::1e897b35-0dd4-497a-9ab7-7a37e6c39d5b" providerId="AD" clId="Web-{3293BAB3-8219-41FE-CB6C-70D07FF13DE4}" dt="2024-01-26T21:31:32.711" v="87" actId="20577"/>
          <ac:spMkLst>
            <pc:docMk/>
            <pc:sldMk cId="4099246298" sldId="830"/>
            <ac:spMk id="2" creationId="{EE99E557-0E3A-FE44-7651-9B517AB7FE25}"/>
          </ac:spMkLst>
        </pc:spChg>
        <pc:picChg chg="mod">
          <ac:chgData name="Kiela Karina Moreno" userId="S::mpg7143@ads.northwestern.edu::1e897b35-0dd4-497a-9ab7-7a37e6c39d5b" providerId="AD" clId="Web-{3293BAB3-8219-41FE-CB6C-70D07FF13DE4}" dt="2024-01-26T22:07:12.012" v="442" actId="1076"/>
          <ac:picMkLst>
            <pc:docMk/>
            <pc:sldMk cId="4099246298" sldId="830"/>
            <ac:picMk id="12" creationId="{B11771C7-349D-3F1D-D5FE-4024B38F3277}"/>
          </ac:picMkLst>
        </pc:picChg>
        <pc:picChg chg="mod">
          <ac:chgData name="Kiela Karina Moreno" userId="S::mpg7143@ads.northwestern.edu::1e897b35-0dd4-497a-9ab7-7a37e6c39d5b" providerId="AD" clId="Web-{3293BAB3-8219-41FE-CB6C-70D07FF13DE4}" dt="2024-01-26T22:07:14.699" v="443" actId="1076"/>
          <ac:picMkLst>
            <pc:docMk/>
            <pc:sldMk cId="4099246298" sldId="830"/>
            <ac:picMk id="13" creationId="{57368AFE-1503-7417-7C08-921A66CA871A}"/>
          </ac:picMkLst>
        </pc:picChg>
      </pc:sldChg>
      <pc:sldChg chg="modSp add">
        <pc:chgData name="Kiela Karina Moreno" userId="S::mpg7143@ads.northwestern.edu::1e897b35-0dd4-497a-9ab7-7a37e6c39d5b" providerId="AD" clId="Web-{3293BAB3-8219-41FE-CB6C-70D07FF13DE4}" dt="2024-01-26T22:03:09.553" v="419"/>
        <pc:sldMkLst>
          <pc:docMk/>
          <pc:sldMk cId="1383153618" sldId="832"/>
        </pc:sldMkLst>
        <pc:spChg chg="mod">
          <ac:chgData name="Kiela Karina Moreno" userId="S::mpg7143@ads.northwestern.edu::1e897b35-0dd4-497a-9ab7-7a37e6c39d5b" providerId="AD" clId="Web-{3293BAB3-8219-41FE-CB6C-70D07FF13DE4}" dt="2024-01-26T22:00:57.487" v="405" actId="1076"/>
          <ac:spMkLst>
            <pc:docMk/>
            <pc:sldMk cId="1383153618" sldId="832"/>
            <ac:spMk id="2" creationId="{1ADE3F33-C3B5-E055-DCEE-2F9C85028D71}"/>
          </ac:spMkLst>
        </pc:spChg>
        <pc:spChg chg="mod">
          <ac:chgData name="Kiela Karina Moreno" userId="S::mpg7143@ads.northwestern.edu::1e897b35-0dd4-497a-9ab7-7a37e6c39d5b" providerId="AD" clId="Web-{3293BAB3-8219-41FE-CB6C-70D07FF13DE4}" dt="2024-01-26T22:02:39.974" v="415" actId="20577"/>
          <ac:spMkLst>
            <pc:docMk/>
            <pc:sldMk cId="1383153618" sldId="832"/>
            <ac:spMk id="3" creationId="{A8FB859F-8E0E-956F-2CC7-6B79360725AD}"/>
          </ac:spMkLst>
        </pc:spChg>
        <pc:spChg chg="mod">
          <ac:chgData name="Kiela Karina Moreno" userId="S::mpg7143@ads.northwestern.edu::1e897b35-0dd4-497a-9ab7-7a37e6c39d5b" providerId="AD" clId="Web-{3293BAB3-8219-41FE-CB6C-70D07FF13DE4}" dt="2024-01-26T22:03:09.553" v="419"/>
          <ac:spMkLst>
            <pc:docMk/>
            <pc:sldMk cId="1383153618" sldId="832"/>
            <ac:spMk id="6" creationId="{3BEB7261-6CAD-A586-63E2-7EFA2E7C8857}"/>
          </ac:spMkLst>
        </pc:spChg>
      </pc:sldChg>
      <pc:sldChg chg="modSp add ord">
        <pc:chgData name="Kiela Karina Moreno" userId="S::mpg7143@ads.northwestern.edu::1e897b35-0dd4-497a-9ab7-7a37e6c39d5b" providerId="AD" clId="Web-{3293BAB3-8219-41FE-CB6C-70D07FF13DE4}" dt="2024-01-26T22:04:56.149" v="440" actId="20577"/>
        <pc:sldMkLst>
          <pc:docMk/>
          <pc:sldMk cId="2701760186" sldId="833"/>
        </pc:sldMkLst>
        <pc:spChg chg="mod">
          <ac:chgData name="Kiela Karina Moreno" userId="S::mpg7143@ads.northwestern.edu::1e897b35-0dd4-497a-9ab7-7a37e6c39d5b" providerId="AD" clId="Web-{3293BAB3-8219-41FE-CB6C-70D07FF13DE4}" dt="2024-01-26T22:03:55.679" v="426" actId="20577"/>
          <ac:spMkLst>
            <pc:docMk/>
            <pc:sldMk cId="2701760186" sldId="833"/>
            <ac:spMk id="2" creationId="{00000000-0000-0000-0000-000000000000}"/>
          </ac:spMkLst>
        </pc:spChg>
        <pc:graphicFrameChg chg="mod modGraphic">
          <ac:chgData name="Kiela Karina Moreno" userId="S::mpg7143@ads.northwestern.edu::1e897b35-0dd4-497a-9ab7-7a37e6c39d5b" providerId="AD" clId="Web-{3293BAB3-8219-41FE-CB6C-70D07FF13DE4}" dt="2024-01-26T22:04:56.149" v="440" actId="20577"/>
          <ac:graphicFrameMkLst>
            <pc:docMk/>
            <pc:sldMk cId="2701760186" sldId="833"/>
            <ac:graphicFrameMk id="7" creationId="{D93EF601-CA84-ECB1-08DF-C8BAEC274FE9}"/>
          </ac:graphicFrameMkLst>
        </pc:graphicFrameChg>
        <pc:picChg chg="mod">
          <ac:chgData name="Kiela Karina Moreno" userId="S::mpg7143@ads.northwestern.edu::1e897b35-0dd4-497a-9ab7-7a37e6c39d5b" providerId="AD" clId="Web-{3293BAB3-8219-41FE-CB6C-70D07FF13DE4}" dt="2024-01-26T22:04:18.601" v="433"/>
          <ac:picMkLst>
            <pc:docMk/>
            <pc:sldMk cId="2701760186" sldId="833"/>
            <ac:picMk id="46" creationId="{5E04828F-545E-7B88-1CDE-A6B8BD1213E3}"/>
          </ac:picMkLst>
        </pc:picChg>
        <pc:picChg chg="mod">
          <ac:chgData name="Kiela Karina Moreno" userId="S::mpg7143@ads.northwestern.edu::1e897b35-0dd4-497a-9ab7-7a37e6c39d5b" providerId="AD" clId="Web-{3293BAB3-8219-41FE-CB6C-70D07FF13DE4}" dt="2024-01-26T22:04:47.618" v="438"/>
          <ac:picMkLst>
            <pc:docMk/>
            <pc:sldMk cId="2701760186" sldId="833"/>
            <ac:picMk id="47" creationId="{C13E9A9E-F1C1-0883-4F89-871783B27D2F}"/>
          </ac:picMkLst>
        </pc:picChg>
      </pc:sldChg>
      <pc:sldChg chg="add">
        <pc:chgData name="Kiela Karina Moreno" userId="S::mpg7143@ads.northwestern.edu::1e897b35-0dd4-497a-9ab7-7a37e6c39d5b" providerId="AD" clId="Web-{3293BAB3-8219-41FE-CB6C-70D07FF13DE4}" dt="2024-01-26T21:56:11.074" v="394"/>
        <pc:sldMkLst>
          <pc:docMk/>
          <pc:sldMk cId="1690262315" sldId="835"/>
        </pc:sldMkLst>
      </pc:sldChg>
      <pc:sldChg chg="add">
        <pc:chgData name="Kiela Karina Moreno" userId="S::mpg7143@ads.northwestern.edu::1e897b35-0dd4-497a-9ab7-7a37e6c39d5b" providerId="AD" clId="Web-{3293BAB3-8219-41FE-CB6C-70D07FF13DE4}" dt="2024-01-26T21:56:18.074" v="395"/>
        <pc:sldMkLst>
          <pc:docMk/>
          <pc:sldMk cId="1310655723" sldId="836"/>
        </pc:sldMkLst>
      </pc:sldChg>
      <pc:sldChg chg="modSp add del">
        <pc:chgData name="Kiela Karina Moreno" userId="S::mpg7143@ads.northwestern.edu::1e897b35-0dd4-497a-9ab7-7a37e6c39d5b" providerId="AD" clId="Web-{3293BAB3-8219-41FE-CB6C-70D07FF13DE4}" dt="2024-01-26T21:53:32.758" v="385"/>
        <pc:sldMkLst>
          <pc:docMk/>
          <pc:sldMk cId="3239241619" sldId="843"/>
        </pc:sldMkLst>
        <pc:spChg chg="mod">
          <ac:chgData name="Kiela Karina Moreno" userId="S::mpg7143@ads.northwestern.edu::1e897b35-0dd4-497a-9ab7-7a37e6c39d5b" providerId="AD" clId="Web-{3293BAB3-8219-41FE-CB6C-70D07FF13DE4}" dt="2024-01-26T21:53:27.836" v="384" actId="14100"/>
          <ac:spMkLst>
            <pc:docMk/>
            <pc:sldMk cId="3239241619" sldId="843"/>
            <ac:spMk id="2" creationId="{BC137260-EABB-D91F-DF60-EA0F89C2060F}"/>
          </ac:spMkLst>
        </pc:spChg>
        <pc:spChg chg="mod">
          <ac:chgData name="Kiela Karina Moreno" userId="S::mpg7143@ads.northwestern.edu::1e897b35-0dd4-497a-9ab7-7a37e6c39d5b" providerId="AD" clId="Web-{3293BAB3-8219-41FE-CB6C-70D07FF13DE4}" dt="2024-01-26T21:52:52.054" v="380" actId="20577"/>
          <ac:spMkLst>
            <pc:docMk/>
            <pc:sldMk cId="3239241619" sldId="843"/>
            <ac:spMk id="3" creationId="{1374A498-DED8-8CA6-F58E-93ECCDB99F48}"/>
          </ac:spMkLst>
        </pc:spChg>
      </pc:sldChg>
      <pc:sldChg chg="addSp delSp modSp add">
        <pc:chgData name="Kiela Karina Moreno" userId="S::mpg7143@ads.northwestern.edu::1e897b35-0dd4-497a-9ab7-7a37e6c39d5b" providerId="AD" clId="Web-{3293BAB3-8219-41FE-CB6C-70D07FF13DE4}" dt="2024-01-26T21:54:46.166" v="393"/>
        <pc:sldMkLst>
          <pc:docMk/>
          <pc:sldMk cId="1663322964" sldId="846"/>
        </pc:sldMkLst>
        <pc:spChg chg="mod">
          <ac:chgData name="Kiela Karina Moreno" userId="S::mpg7143@ads.northwestern.edu::1e897b35-0dd4-497a-9ab7-7a37e6c39d5b" providerId="AD" clId="Web-{3293BAB3-8219-41FE-CB6C-70D07FF13DE4}" dt="2024-01-26T21:54:26.665" v="390" actId="20577"/>
          <ac:spMkLst>
            <pc:docMk/>
            <pc:sldMk cId="1663322964" sldId="846"/>
            <ac:spMk id="2" creationId="{00000000-0000-0000-0000-000000000000}"/>
          </ac:spMkLst>
        </pc:spChg>
        <pc:graphicFrameChg chg="add del mod modGraphic">
          <ac:chgData name="Kiela Karina Moreno" userId="S::mpg7143@ads.northwestern.edu::1e897b35-0dd4-497a-9ab7-7a37e6c39d5b" providerId="AD" clId="Web-{3293BAB3-8219-41FE-CB6C-70D07FF13DE4}" dt="2024-01-26T21:54:46.166" v="393"/>
          <ac:graphicFrameMkLst>
            <pc:docMk/>
            <pc:sldMk cId="1663322964" sldId="846"/>
            <ac:graphicFrameMk id="120" creationId="{66866862-5762-AD3F-7926-640DF3046EB5}"/>
          </ac:graphicFrameMkLst>
        </pc:graphicFrameChg>
      </pc:sldChg>
      <pc:sldChg chg="delSp modSp add mod setBg">
        <pc:chgData name="Kiela Karina Moreno" userId="S::mpg7143@ads.northwestern.edu::1e897b35-0dd4-497a-9ab7-7a37e6c39d5b" providerId="AD" clId="Web-{3293BAB3-8219-41FE-CB6C-70D07FF13DE4}" dt="2024-01-26T22:06:08.979" v="441"/>
        <pc:sldMkLst>
          <pc:docMk/>
          <pc:sldMk cId="1341783838" sldId="848"/>
        </pc:sldMkLst>
        <pc:spChg chg="mod">
          <ac:chgData name="Kiela Karina Moreno" userId="S::mpg7143@ads.northwestern.edu::1e897b35-0dd4-497a-9ab7-7a37e6c39d5b" providerId="AD" clId="Web-{3293BAB3-8219-41FE-CB6C-70D07FF13DE4}" dt="2024-01-26T21:57:14.732" v="399" actId="20577"/>
          <ac:spMkLst>
            <pc:docMk/>
            <pc:sldMk cId="1341783838" sldId="848"/>
            <ac:spMk id="2" creationId="{304FC3E6-8E03-4AD0-DC5A-624DF52B6ED0}"/>
          </ac:spMkLst>
        </pc:spChg>
        <pc:spChg chg="del">
          <ac:chgData name="Kiela Karina Moreno" userId="S::mpg7143@ads.northwestern.edu::1e897b35-0dd4-497a-9ab7-7a37e6c39d5b" providerId="AD" clId="Web-{3293BAB3-8219-41FE-CB6C-70D07FF13DE4}" dt="2024-01-26T21:57:18.373" v="400"/>
          <ac:spMkLst>
            <pc:docMk/>
            <pc:sldMk cId="1341783838" sldId="848"/>
            <ac:spMk id="3" creationId="{55A44735-35A6-47CD-D81A-CE1B782343C9}"/>
          </ac:spMkLst>
        </pc:spChg>
      </pc:sldChg>
      <pc:sldChg chg="delSp modSp add del mod setBg">
        <pc:chgData name="Kiela Karina Moreno" userId="S::mpg7143@ads.northwestern.edu::1e897b35-0dd4-497a-9ab7-7a37e6c39d5b" providerId="AD" clId="Web-{3293BAB3-8219-41FE-CB6C-70D07FF13DE4}" dt="2024-01-26T21:39:08.456" v="211"/>
        <pc:sldMkLst>
          <pc:docMk/>
          <pc:sldMk cId="31765455" sldId="850"/>
        </pc:sldMkLst>
        <pc:spChg chg="mod">
          <ac:chgData name="Kiela Karina Moreno" userId="S::mpg7143@ads.northwestern.edu::1e897b35-0dd4-497a-9ab7-7a37e6c39d5b" providerId="AD" clId="Web-{3293BAB3-8219-41FE-CB6C-70D07FF13DE4}" dt="2024-01-26T21:26:16.188" v="39" actId="20577"/>
          <ac:spMkLst>
            <pc:docMk/>
            <pc:sldMk cId="31765455" sldId="850"/>
            <ac:spMk id="2" creationId="{24B424F0-A3EC-200C-FF5A-476B2FCC2567}"/>
          </ac:spMkLst>
        </pc:spChg>
        <pc:spChg chg="del">
          <ac:chgData name="Kiela Karina Moreno" userId="S::mpg7143@ads.northwestern.edu::1e897b35-0dd4-497a-9ab7-7a37e6c39d5b" providerId="AD" clId="Web-{3293BAB3-8219-41FE-CB6C-70D07FF13DE4}" dt="2024-01-26T21:26:18.219" v="40"/>
          <ac:spMkLst>
            <pc:docMk/>
            <pc:sldMk cId="31765455" sldId="850"/>
            <ac:spMk id="3" creationId="{704704D8-5662-7097-9940-0AF787486FE6}"/>
          </ac:spMkLst>
        </pc:spChg>
      </pc:sldChg>
      <pc:sldChg chg="modSp">
        <pc:chgData name="Kiela Karina Moreno" userId="S::mpg7143@ads.northwestern.edu::1e897b35-0dd4-497a-9ab7-7a37e6c39d5b" providerId="AD" clId="Web-{3293BAB3-8219-41FE-CB6C-70D07FF13DE4}" dt="2024-01-26T21:47:32.671" v="330" actId="20577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3293BAB3-8219-41FE-CB6C-70D07FF13DE4}" dt="2024-01-26T21:47:32.671" v="330" actId="20577"/>
          <ac:spMkLst>
            <pc:docMk/>
            <pc:sldMk cId="2820585005" sldId="856"/>
            <ac:spMk id="5" creationId="{128C267F-D634-3898-5F27-33D0A5C5B94E}"/>
          </ac:spMkLst>
        </pc:spChg>
      </pc:sldChg>
      <pc:sldChg chg="addSp new del ord">
        <pc:chgData name="Kiela Karina Moreno" userId="S::mpg7143@ads.northwestern.edu::1e897b35-0dd4-497a-9ab7-7a37e6c39d5b" providerId="AD" clId="Web-{3293BAB3-8219-41FE-CB6C-70D07FF13DE4}" dt="2024-01-26T21:21:51.463" v="8"/>
        <pc:sldMkLst>
          <pc:docMk/>
          <pc:sldMk cId="2117777218" sldId="862"/>
        </pc:sldMkLst>
        <pc:spChg chg="add">
          <ac:chgData name="Kiela Karina Moreno" userId="S::mpg7143@ads.northwestern.edu::1e897b35-0dd4-497a-9ab7-7a37e6c39d5b" providerId="AD" clId="Web-{3293BAB3-8219-41FE-CB6C-70D07FF13DE4}" dt="2024-01-26T21:21:09.915" v="4"/>
          <ac:spMkLst>
            <pc:docMk/>
            <pc:sldMk cId="2117777218" sldId="862"/>
            <ac:spMk id="2" creationId="{A7AA00AD-3E63-0805-A8A0-C43A5E17E3DE}"/>
          </ac:spMkLst>
        </pc:spChg>
      </pc:sldChg>
      <pc:sldChg chg="new del">
        <pc:chgData name="Kiela Karina Moreno" userId="S::mpg7143@ads.northwestern.edu::1e897b35-0dd4-497a-9ab7-7a37e6c39d5b" providerId="AD" clId="Web-{3293BAB3-8219-41FE-CB6C-70D07FF13DE4}" dt="2024-01-26T21:20:50.134" v="1"/>
        <pc:sldMkLst>
          <pc:docMk/>
          <pc:sldMk cId="2468513500" sldId="862"/>
        </pc:sldMkLst>
      </pc:sldChg>
      <pc:sldChg chg="addSp modSp new">
        <pc:chgData name="Kiela Karina Moreno" userId="S::mpg7143@ads.northwestern.edu::1e897b35-0dd4-497a-9ab7-7a37e6c39d5b" providerId="AD" clId="Web-{3293BAB3-8219-41FE-CB6C-70D07FF13DE4}" dt="2024-01-26T21:24:32.764" v="32" actId="1076"/>
        <pc:sldMkLst>
          <pc:docMk/>
          <pc:sldMk cId="3493254750" sldId="862"/>
        </pc:sldMkLst>
        <pc:picChg chg="add mod">
          <ac:chgData name="Kiela Karina Moreno" userId="S::mpg7143@ads.northwestern.edu::1e897b35-0dd4-497a-9ab7-7a37e6c39d5b" providerId="AD" clId="Web-{3293BAB3-8219-41FE-CB6C-70D07FF13DE4}" dt="2024-01-26T21:24:32.764" v="32" actId="1076"/>
          <ac:picMkLst>
            <pc:docMk/>
            <pc:sldMk cId="3493254750" sldId="862"/>
            <ac:picMk id="2" creationId="{5106B348-4ADC-3745-31CD-D08E6E12A421}"/>
          </ac:picMkLst>
        </pc:picChg>
      </pc:sldChg>
      <pc:sldChg chg="addSp delSp modSp new">
        <pc:chgData name="Kiela Karina Moreno" userId="S::mpg7143@ads.northwestern.edu::1e897b35-0dd4-497a-9ab7-7a37e6c39d5b" providerId="AD" clId="Web-{3293BAB3-8219-41FE-CB6C-70D07FF13DE4}" dt="2024-01-26T21:30:53.601" v="83" actId="20577"/>
        <pc:sldMkLst>
          <pc:docMk/>
          <pc:sldMk cId="2616071266" sldId="863"/>
        </pc:sldMkLst>
        <pc:spChg chg="add">
          <ac:chgData name="Kiela Karina Moreno" userId="S::mpg7143@ads.northwestern.edu::1e897b35-0dd4-497a-9ab7-7a37e6c39d5b" providerId="AD" clId="Web-{3293BAB3-8219-41FE-CB6C-70D07FF13DE4}" dt="2024-01-26T21:27:18.502" v="42"/>
          <ac:spMkLst>
            <pc:docMk/>
            <pc:sldMk cId="2616071266" sldId="863"/>
            <ac:spMk id="2" creationId="{8DAA63EA-4CFA-BA19-A922-155243C2D2F5}"/>
          </ac:spMkLst>
        </pc:spChg>
        <pc:spChg chg="add mod">
          <ac:chgData name="Kiela Karina Moreno" userId="S::mpg7143@ads.northwestern.edu::1e897b35-0dd4-497a-9ab7-7a37e6c39d5b" providerId="AD" clId="Web-{3293BAB3-8219-41FE-CB6C-70D07FF13DE4}" dt="2024-01-26T21:27:32.752" v="45" actId="1076"/>
          <ac:spMkLst>
            <pc:docMk/>
            <pc:sldMk cId="2616071266" sldId="863"/>
            <ac:spMk id="3" creationId="{78102230-EA6A-3DB2-E5D4-A22B16B71C72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7:38.034" v="46"/>
          <ac:spMkLst>
            <pc:docMk/>
            <pc:sldMk cId="2616071266" sldId="863"/>
            <ac:spMk id="4" creationId="{4F380EAC-2E21-A782-F484-65FB9A0BB1E4}"/>
          </ac:spMkLst>
        </pc:spChg>
        <pc:spChg chg="add mod">
          <ac:chgData name="Kiela Karina Moreno" userId="S::mpg7143@ads.northwestern.edu::1e897b35-0dd4-497a-9ab7-7a37e6c39d5b" providerId="AD" clId="Web-{3293BAB3-8219-41FE-CB6C-70D07FF13DE4}" dt="2024-01-26T21:30:53.601" v="83" actId="20577"/>
          <ac:spMkLst>
            <pc:docMk/>
            <pc:sldMk cId="2616071266" sldId="863"/>
            <ac:spMk id="5" creationId="{8C23B86C-0FE9-CEED-F6F4-B024ACED163B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13" creationId="{6BC4087A-9690-F6FA-29A6-011C2A3B2597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14" creationId="{C0D13344-6ED9-F550-0D28-B6D6723851FC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15" creationId="{96A1527B-087D-0EE6-E1AC-43D4D1A32765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16" creationId="{FEECB93C-D3D8-F928-2CAB-FB13D7E9EC47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17" creationId="{EC39B0EA-C33D-5876-DB53-C58D52A496D6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18" creationId="{66F15AB2-B62F-464E-B311-50AFBBD36DE1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19" creationId="{8F11F7E6-7D3C-CA67-44CE-523518401191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0" creationId="{90C972AF-7688-4F67-3A31-B038843C8846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1" creationId="{A45FEF3C-668B-67E3-CB35-CBA5A0EEA8D8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2" creationId="{51FADBCC-273A-48A0-8BE4-0FD737D3B41E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3" creationId="{DC73AB53-48C3-BBE9-77E9-3701F9E15B47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4" creationId="{D02000B9-C11D-F485-AE3F-C73786D22302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5" creationId="{5DED8AFB-0106-2276-E4DB-0E4656A59EC2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6" creationId="{30813E15-22AD-F95A-C771-707B8C0C977C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7" creationId="{4B767187-5377-3A1E-3233-3E347DD48B3A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8" creationId="{376476E8-2F24-6971-7550-30D5858060B9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29" creationId="{36A1C40A-AFCE-BF8A-9900-FF1E8C9FFEF3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0" creationId="{D521CBA5-2389-980E-6019-208E4E9D8916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1" creationId="{BB54210E-7363-3FA4-95E8-151E37E30048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2" creationId="{0D061F90-29F1-2A58-F5C8-A54CF4F74914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3" creationId="{5BC8D6AE-CB14-47ED-5692-3C7D6F17290F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4" creationId="{3ED115CA-DAB2-A9F7-A14D-424D3EA94804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5" creationId="{F9589825-BA76-2A88-9C04-55A363D778BF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6" creationId="{AD834FD0-CFCA-74A3-3549-7D8C53C06D68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7" creationId="{C9711465-E2AB-8C83-8A4C-E5088F981659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8" creationId="{38224E76-B951-C878-90CC-95F2704442BD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39" creationId="{A2AE5BF7-3540-CE94-19C2-924EA7E8F198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40" creationId="{5D91E411-CD65-C2B6-785E-8F2A521DD1D3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41" creationId="{6EEBF41C-C731-4DB8-CFE9-8C79A17A9093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42" creationId="{A3D81BB0-E0CA-661B-B105-219E9D70E372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43" creationId="{FE8A138E-A6A6-ABE6-0D86-1A98A294254F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44" creationId="{9938FFE6-FB70-A92C-5E56-5D30C540926F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45" creationId="{06D405CE-FB05-FAA2-88C5-0741C7AE3FA8}"/>
          </ac:spMkLst>
        </pc:spChg>
        <pc:spChg chg="add">
          <ac:chgData name="Kiela Karina Moreno" userId="S::mpg7143@ads.northwestern.edu::1e897b35-0dd4-497a-9ab7-7a37e6c39d5b" providerId="AD" clId="Web-{3293BAB3-8219-41FE-CB6C-70D07FF13DE4}" dt="2024-01-26T21:28:00.316" v="48"/>
          <ac:spMkLst>
            <pc:docMk/>
            <pc:sldMk cId="2616071266" sldId="863"/>
            <ac:spMk id="46" creationId="{9A53C300-2B67-3C87-3B07-9136C7350472}"/>
          </ac:spMkLst>
        </pc:spChg>
        <pc:spChg chg="add mod">
          <ac:chgData name="Kiela Karina Moreno" userId="S::mpg7143@ads.northwestern.edu::1e897b35-0dd4-497a-9ab7-7a37e6c39d5b" providerId="AD" clId="Web-{3293BAB3-8219-41FE-CB6C-70D07FF13DE4}" dt="2024-01-26T21:29:21.005" v="65" actId="1076"/>
          <ac:spMkLst>
            <pc:docMk/>
            <pc:sldMk cId="2616071266" sldId="863"/>
            <ac:spMk id="48" creationId="{A1845571-50B3-5842-B49A-39B96E8EBEED}"/>
          </ac:spMkLst>
        </pc:spChg>
        <pc:spChg chg="add del mod">
          <ac:chgData name="Kiela Karina Moreno" userId="S::mpg7143@ads.northwestern.edu::1e897b35-0dd4-497a-9ab7-7a37e6c39d5b" providerId="AD" clId="Web-{3293BAB3-8219-41FE-CB6C-70D07FF13DE4}" dt="2024-01-26T21:29:10.802" v="61"/>
          <ac:spMkLst>
            <pc:docMk/>
            <pc:sldMk cId="2616071266" sldId="863"/>
            <ac:spMk id="49" creationId="{26E774BC-79BA-BD1B-6BBD-E91A6215CCC9}"/>
          </ac:spMkLst>
        </pc:spChg>
        <pc:spChg chg="add mod">
          <ac:chgData name="Kiela Karina Moreno" userId="S::mpg7143@ads.northwestern.edu::1e897b35-0dd4-497a-9ab7-7a37e6c39d5b" providerId="AD" clId="Web-{3293BAB3-8219-41FE-CB6C-70D07FF13DE4}" dt="2024-01-26T21:29:17.536" v="64" actId="1076"/>
          <ac:spMkLst>
            <pc:docMk/>
            <pc:sldMk cId="2616071266" sldId="863"/>
            <ac:spMk id="50" creationId="{0A5DCEEC-8124-0087-BE88-ED4340DAEB2C}"/>
          </ac:spMkLst>
        </pc:spChg>
        <pc:grpChg chg="add">
          <ac:chgData name="Kiela Karina Moreno" userId="S::mpg7143@ads.northwestern.edu::1e897b35-0dd4-497a-9ab7-7a37e6c39d5b" providerId="AD" clId="Web-{3293BAB3-8219-41FE-CB6C-70D07FF13DE4}" dt="2024-01-26T21:28:00.316" v="48"/>
          <ac:grpSpMkLst>
            <pc:docMk/>
            <pc:sldMk cId="2616071266" sldId="863"/>
            <ac:grpSpMk id="6" creationId="{3CAAB623-AB39-F2EA-2795-C660DE99A638}"/>
          </ac:grpSpMkLst>
        </pc:grpChg>
        <pc:grpChg chg="add">
          <ac:chgData name="Kiela Karina Moreno" userId="S::mpg7143@ads.northwestern.edu::1e897b35-0dd4-497a-9ab7-7a37e6c39d5b" providerId="AD" clId="Web-{3293BAB3-8219-41FE-CB6C-70D07FF13DE4}" dt="2024-01-26T21:28:00.316" v="48"/>
          <ac:grpSpMkLst>
            <pc:docMk/>
            <pc:sldMk cId="2616071266" sldId="863"/>
            <ac:grpSpMk id="7" creationId="{F52B056E-8504-09C9-7FD3-CE403C19BE97}"/>
          </ac:grpSpMkLst>
        </pc:grpChg>
        <pc:grpChg chg="add">
          <ac:chgData name="Kiela Karina Moreno" userId="S::mpg7143@ads.northwestern.edu::1e897b35-0dd4-497a-9ab7-7a37e6c39d5b" providerId="AD" clId="Web-{3293BAB3-8219-41FE-CB6C-70D07FF13DE4}" dt="2024-01-26T21:28:00.316" v="48"/>
          <ac:grpSpMkLst>
            <pc:docMk/>
            <pc:sldMk cId="2616071266" sldId="863"/>
            <ac:grpSpMk id="8" creationId="{8CCF51CC-E723-13E1-112A-861D017710BE}"/>
          </ac:grpSpMkLst>
        </pc:grpChg>
        <pc:grpChg chg="add">
          <ac:chgData name="Kiela Karina Moreno" userId="S::mpg7143@ads.northwestern.edu::1e897b35-0dd4-497a-9ab7-7a37e6c39d5b" providerId="AD" clId="Web-{3293BAB3-8219-41FE-CB6C-70D07FF13DE4}" dt="2024-01-26T21:28:00.316" v="48"/>
          <ac:grpSpMkLst>
            <pc:docMk/>
            <pc:sldMk cId="2616071266" sldId="863"/>
            <ac:grpSpMk id="9" creationId="{2F8A0414-D415-4E5E-4126-157F4F5CD932}"/>
          </ac:grpSpMkLst>
        </pc:grpChg>
        <pc:grpChg chg="add">
          <ac:chgData name="Kiela Karina Moreno" userId="S::mpg7143@ads.northwestern.edu::1e897b35-0dd4-497a-9ab7-7a37e6c39d5b" providerId="AD" clId="Web-{3293BAB3-8219-41FE-CB6C-70D07FF13DE4}" dt="2024-01-26T21:28:00.316" v="48"/>
          <ac:grpSpMkLst>
            <pc:docMk/>
            <pc:sldMk cId="2616071266" sldId="863"/>
            <ac:grpSpMk id="10" creationId="{F6B6D406-3BA8-C323-60C6-4DA994C843C6}"/>
          </ac:grpSpMkLst>
        </pc:grpChg>
        <pc:grpChg chg="add">
          <ac:chgData name="Kiela Karina Moreno" userId="S::mpg7143@ads.northwestern.edu::1e897b35-0dd4-497a-9ab7-7a37e6c39d5b" providerId="AD" clId="Web-{3293BAB3-8219-41FE-CB6C-70D07FF13DE4}" dt="2024-01-26T21:28:00.316" v="48"/>
          <ac:grpSpMkLst>
            <pc:docMk/>
            <pc:sldMk cId="2616071266" sldId="863"/>
            <ac:grpSpMk id="11" creationId="{9006263E-2644-39A7-EFCF-E4CF3377324E}"/>
          </ac:grpSpMkLst>
        </pc:grpChg>
        <pc:grpChg chg="add">
          <ac:chgData name="Kiela Karina Moreno" userId="S::mpg7143@ads.northwestern.edu::1e897b35-0dd4-497a-9ab7-7a37e6c39d5b" providerId="AD" clId="Web-{3293BAB3-8219-41FE-CB6C-70D07FF13DE4}" dt="2024-01-26T21:28:00.316" v="48"/>
          <ac:grpSpMkLst>
            <pc:docMk/>
            <pc:sldMk cId="2616071266" sldId="863"/>
            <ac:grpSpMk id="12" creationId="{B2476447-646A-19DD-CBE3-B1FAEAD0FA3A}"/>
          </ac:grpSpMkLst>
        </pc:grpChg>
      </pc:sldChg>
      <pc:sldChg chg="new">
        <pc:chgData name="Kiela Karina Moreno" userId="S::mpg7143@ads.northwestern.edu::1e897b35-0dd4-497a-9ab7-7a37e6c39d5b" providerId="AD" clId="Web-{3293BAB3-8219-41FE-CB6C-70D07FF13DE4}" dt="2024-01-26T21:28:36.629" v="55"/>
        <pc:sldMkLst>
          <pc:docMk/>
          <pc:sldMk cId="726365034" sldId="864"/>
        </pc:sldMkLst>
      </pc:sldChg>
      <pc:sldChg chg="modSp add ord replId">
        <pc:chgData name="Kiela Karina Moreno" userId="S::mpg7143@ads.northwestern.edu::1e897b35-0dd4-497a-9ab7-7a37e6c39d5b" providerId="AD" clId="Web-{3293BAB3-8219-41FE-CB6C-70D07FF13DE4}" dt="2024-01-26T21:30:46.538" v="81" actId="20577"/>
        <pc:sldMkLst>
          <pc:docMk/>
          <pc:sldMk cId="2947401908" sldId="865"/>
        </pc:sldMkLst>
        <pc:spChg chg="mod">
          <ac:chgData name="Kiela Karina Moreno" userId="S::mpg7143@ads.northwestern.edu::1e897b35-0dd4-497a-9ab7-7a37e6c39d5b" providerId="AD" clId="Web-{3293BAB3-8219-41FE-CB6C-70D07FF13DE4}" dt="2024-01-26T21:30:46.538" v="81" actId="20577"/>
          <ac:spMkLst>
            <pc:docMk/>
            <pc:sldMk cId="2947401908" sldId="865"/>
            <ac:spMk id="2" creationId="{3DDA825D-4829-111F-EAFA-DD3F2F2D6B3C}"/>
          </ac:spMkLst>
        </pc:spChg>
      </pc:sldChg>
      <pc:sldChg chg="addSp delSp modSp add replId">
        <pc:chgData name="Kiela Karina Moreno" userId="S::mpg7143@ads.northwestern.edu::1e897b35-0dd4-497a-9ab7-7a37e6c39d5b" providerId="AD" clId="Web-{3293BAB3-8219-41FE-CB6C-70D07FF13DE4}" dt="2024-01-26T21:41:12.084" v="251" actId="20577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3293BAB3-8219-41FE-CB6C-70D07FF13DE4}" dt="2024-01-26T21:33:06.385" v="98" actId="1076"/>
          <ac:spMkLst>
            <pc:docMk/>
            <pc:sldMk cId="1914631794" sldId="866"/>
            <ac:spMk id="2" creationId="{B8576EA4-3DF4-E9A6-5CD8-6AB4F95F4CBD}"/>
          </ac:spMkLst>
        </pc:spChg>
        <pc:spChg chg="add del">
          <ac:chgData name="Kiela Karina Moreno" userId="S::mpg7143@ads.northwestern.edu::1e897b35-0dd4-497a-9ab7-7a37e6c39d5b" providerId="AD" clId="Web-{3293BAB3-8219-41FE-CB6C-70D07FF13DE4}" dt="2024-01-26T21:35:57.842" v="148"/>
          <ac:spMkLst>
            <pc:docMk/>
            <pc:sldMk cId="1914631794" sldId="866"/>
            <ac:spMk id="6" creationId="{BA45C338-5C76-AB74-5332-828407E58A9F}"/>
          </ac:spMkLst>
        </pc:spChg>
        <pc:spChg chg="add mod">
          <ac:chgData name="Kiela Karina Moreno" userId="S::mpg7143@ads.northwestern.edu::1e897b35-0dd4-497a-9ab7-7a37e6c39d5b" providerId="AD" clId="Web-{3293BAB3-8219-41FE-CB6C-70D07FF13DE4}" dt="2024-01-26T21:41:12.084" v="251" actId="20577"/>
          <ac:spMkLst>
            <pc:docMk/>
            <pc:sldMk cId="1914631794" sldId="866"/>
            <ac:spMk id="7" creationId="{A613F0CA-0B42-2365-025C-A56F8FFC9B87}"/>
          </ac:spMkLst>
        </pc:spChg>
      </pc:sldChg>
      <pc:sldChg chg="addSp delSp modSp new">
        <pc:chgData name="Kiela Karina Moreno" userId="S::mpg7143@ads.northwestern.edu::1e897b35-0dd4-497a-9ab7-7a37e6c39d5b" providerId="AD" clId="Web-{3293BAB3-8219-41FE-CB6C-70D07FF13DE4}" dt="2024-01-26T22:07:52.012" v="450" actId="1076"/>
        <pc:sldMkLst>
          <pc:docMk/>
          <pc:sldMk cId="1548499057" sldId="867"/>
        </pc:sldMkLst>
        <pc:spChg chg="add mod">
          <ac:chgData name="Kiela Karina Moreno" userId="S::mpg7143@ads.northwestern.edu::1e897b35-0dd4-497a-9ab7-7a37e6c39d5b" providerId="AD" clId="Web-{3293BAB3-8219-41FE-CB6C-70D07FF13DE4}" dt="2024-01-26T22:07:44.590" v="449" actId="1076"/>
          <ac:spMkLst>
            <pc:docMk/>
            <pc:sldMk cId="1548499057" sldId="867"/>
            <ac:spMk id="3" creationId="{477DBB18-4ABA-5958-7B3D-1A4CBBA0F490}"/>
          </ac:spMkLst>
        </pc:spChg>
        <pc:spChg chg="add mod">
          <ac:chgData name="Kiela Karina Moreno" userId="S::mpg7143@ads.northwestern.edu::1e897b35-0dd4-497a-9ab7-7a37e6c39d5b" providerId="AD" clId="Web-{3293BAB3-8219-41FE-CB6C-70D07FF13DE4}" dt="2024-01-26T22:07:39.590" v="448" actId="1076"/>
          <ac:spMkLst>
            <pc:docMk/>
            <pc:sldMk cId="1548499057" sldId="867"/>
            <ac:spMk id="4" creationId="{07482ACE-FF81-DCEB-B9A3-3AF8C8943F69}"/>
          </ac:spMkLst>
        </pc:spChg>
        <pc:spChg chg="add mod">
          <ac:chgData name="Kiela Karina Moreno" userId="S::mpg7143@ads.northwestern.edu::1e897b35-0dd4-497a-9ab7-7a37e6c39d5b" providerId="AD" clId="Web-{3293BAB3-8219-41FE-CB6C-70D07FF13DE4}" dt="2024-01-26T22:07:52.012" v="450" actId="1076"/>
          <ac:spMkLst>
            <pc:docMk/>
            <pc:sldMk cId="1548499057" sldId="867"/>
            <ac:spMk id="7" creationId="{7C5994FE-ED51-DDC2-A1E8-43D1A63531A2}"/>
          </ac:spMkLst>
        </pc:spChg>
        <pc:spChg chg="add del mod">
          <ac:chgData name="Kiela Karina Moreno" userId="S::mpg7143@ads.northwestern.edu::1e897b35-0dd4-497a-9ab7-7a37e6c39d5b" providerId="AD" clId="Web-{3293BAB3-8219-41FE-CB6C-70D07FF13DE4}" dt="2024-01-26T21:50:56.051" v="361"/>
          <ac:spMkLst>
            <pc:docMk/>
            <pc:sldMk cId="1548499057" sldId="867"/>
            <ac:spMk id="9" creationId="{DCFD5B78-881D-FA28-09B0-C81F44C103B5}"/>
          </ac:spMkLst>
        </pc:spChg>
        <pc:picChg chg="add del mod">
          <ac:chgData name="Kiela Karina Moreno" userId="S::mpg7143@ads.northwestern.edu::1e897b35-0dd4-497a-9ab7-7a37e6c39d5b" providerId="AD" clId="Web-{3293BAB3-8219-41FE-CB6C-70D07FF13DE4}" dt="2024-01-26T21:47:58.766" v="332"/>
          <ac:picMkLst>
            <pc:docMk/>
            <pc:sldMk cId="1548499057" sldId="867"/>
            <ac:picMk id="6" creationId="{82BF3F81-06F2-FB4A-E74A-04EF3D08F9FD}"/>
          </ac:picMkLst>
        </pc:picChg>
        <pc:picChg chg="add mod">
          <ac:chgData name="Kiela Karina Moreno" userId="S::mpg7143@ads.northwestern.edu::1e897b35-0dd4-497a-9ab7-7a37e6c39d5b" providerId="AD" clId="Web-{3293BAB3-8219-41FE-CB6C-70D07FF13DE4}" dt="2024-01-26T21:49:29.533" v="358" actId="1076"/>
          <ac:picMkLst>
            <pc:docMk/>
            <pc:sldMk cId="1548499057" sldId="867"/>
            <ac:picMk id="8" creationId="{209BF596-39D0-D813-95BB-807C6AD4D0C4}"/>
          </ac:picMkLst>
        </pc:picChg>
        <pc:cxnChg chg="add del mod">
          <ac:chgData name="Kiela Karina Moreno" userId="S::mpg7143@ads.northwestern.edu::1e897b35-0dd4-497a-9ab7-7a37e6c39d5b" providerId="AD" clId="Web-{3293BAB3-8219-41FE-CB6C-70D07FF13DE4}" dt="2024-01-26T21:46:04.966" v="321"/>
          <ac:cxnSpMkLst>
            <pc:docMk/>
            <pc:sldMk cId="1548499057" sldId="867"/>
            <ac:cxnSpMk id="5" creationId="{64BCDD62-82E0-AFE1-56F3-60D327812689}"/>
          </ac:cxnSpMkLst>
        </pc:cxnChg>
      </pc:sldChg>
      <pc:sldMasterChg chg="addSldLayout">
        <pc:chgData name="Kiela Karina Moreno" userId="S::mpg7143@ads.northwestern.edu::1e897b35-0dd4-497a-9ab7-7a37e6c39d5b" providerId="AD" clId="Web-{3293BAB3-8219-41FE-CB6C-70D07FF13DE4}" dt="2024-01-26T21:25:24.265" v="33"/>
        <pc:sldMasterMkLst>
          <pc:docMk/>
          <pc:sldMasterMk cId="2460954070" sldId="2147488246"/>
        </pc:sldMasterMkLst>
        <pc:sldLayoutChg chg="add">
          <pc:chgData name="Kiela Karina Moreno" userId="S::mpg7143@ads.northwestern.edu::1e897b35-0dd4-497a-9ab7-7a37e6c39d5b" providerId="AD" clId="Web-{3293BAB3-8219-41FE-CB6C-70D07FF13DE4}" dt="2024-01-26T21:25:24.265" v="33"/>
          <pc:sldLayoutMkLst>
            <pc:docMk/>
            <pc:sldMasterMk cId="2460954070" sldId="2147488246"/>
            <pc:sldLayoutMk cId="2134249136" sldId="2147488244"/>
          </pc:sldLayoutMkLst>
        </pc:sldLayoutChg>
      </pc:sldMasterChg>
    </pc:docChg>
  </pc:docChgLst>
  <pc:docChgLst>
    <pc:chgData name="Kiela Karina Moreno" userId="S::mpg7143@ads.northwestern.edu::1e897b35-0dd4-497a-9ab7-7a37e6c39d5b" providerId="AD" clId="Web-{E8D9CC07-C148-1369-9F61-A6CD1478E9FB}"/>
    <pc:docChg chg="modSld">
      <pc:chgData name="Kiela Karina Moreno" userId="S::mpg7143@ads.northwestern.edu::1e897b35-0dd4-497a-9ab7-7a37e6c39d5b" providerId="AD" clId="Web-{E8D9CC07-C148-1369-9F61-A6CD1478E9FB}" dt="2024-02-07T20:36:09.526" v="2" actId="20577"/>
      <pc:docMkLst>
        <pc:docMk/>
      </pc:docMkLst>
      <pc:sldChg chg="modSp">
        <pc:chgData name="Kiela Karina Moreno" userId="S::mpg7143@ads.northwestern.edu::1e897b35-0dd4-497a-9ab7-7a37e6c39d5b" providerId="AD" clId="Web-{E8D9CC07-C148-1369-9F61-A6CD1478E9FB}" dt="2024-02-07T20:36:09.526" v="2" actId="20577"/>
        <pc:sldMkLst>
          <pc:docMk/>
          <pc:sldMk cId="3127921386" sldId="280"/>
        </pc:sldMkLst>
        <pc:spChg chg="mod">
          <ac:chgData name="Kiela Karina Moreno" userId="S::mpg7143@ads.northwestern.edu::1e897b35-0dd4-497a-9ab7-7a37e6c39d5b" providerId="AD" clId="Web-{E8D9CC07-C148-1369-9F61-A6CD1478E9FB}" dt="2024-02-07T20:36:09.526" v="2" actId="20577"/>
          <ac:spMkLst>
            <pc:docMk/>
            <pc:sldMk cId="3127921386" sldId="280"/>
            <ac:spMk id="9" creationId="{7F20A429-9947-F447-2DF2-A5C17B5C6EC1}"/>
          </ac:spMkLst>
        </pc:spChg>
      </pc:sldChg>
      <pc:sldChg chg="modSp">
        <pc:chgData name="Kiela Karina Moreno" userId="S::mpg7143@ads.northwestern.edu::1e897b35-0dd4-497a-9ab7-7a37e6c39d5b" providerId="AD" clId="Web-{E8D9CC07-C148-1369-9F61-A6CD1478E9FB}" dt="2024-02-07T20:35:47.588" v="1" actId="20577"/>
        <pc:sldMkLst>
          <pc:docMk/>
          <pc:sldMk cId="777023516" sldId="851"/>
        </pc:sldMkLst>
        <pc:spChg chg="mod">
          <ac:chgData name="Kiela Karina Moreno" userId="S::mpg7143@ads.northwestern.edu::1e897b35-0dd4-497a-9ab7-7a37e6c39d5b" providerId="AD" clId="Web-{E8D9CC07-C148-1369-9F61-A6CD1478E9FB}" dt="2024-02-07T20:35:47.588" v="1" actId="20577"/>
          <ac:spMkLst>
            <pc:docMk/>
            <pc:sldMk cId="777023516" sldId="851"/>
            <ac:spMk id="3" creationId="{A068D812-8336-152D-B896-A021E583E31E}"/>
          </ac:spMkLst>
        </pc:spChg>
      </pc:sldChg>
    </pc:docChg>
  </pc:docChgLst>
  <pc:docChgLst>
    <pc:chgData clId="Web-{647E05CA-75B4-FC29-B08E-D18DCDFA9651}"/>
    <pc:docChg chg="modSld">
      <pc:chgData name="" userId="" providerId="" clId="Web-{647E05CA-75B4-FC29-B08E-D18DCDFA9651}" dt="2024-02-03T03:21:47.693" v="1" actId="20577"/>
      <pc:docMkLst>
        <pc:docMk/>
      </pc:docMkLst>
      <pc:sldChg chg="modSp">
        <pc:chgData name="" userId="" providerId="" clId="Web-{647E05CA-75B4-FC29-B08E-D18DCDFA9651}" dt="2024-02-03T03:21:47.693" v="1" actId="20577"/>
        <pc:sldMkLst>
          <pc:docMk/>
          <pc:sldMk cId="1881092197" sldId="855"/>
        </pc:sldMkLst>
        <pc:spChg chg="mod">
          <ac:chgData name="" userId="" providerId="" clId="Web-{647E05CA-75B4-FC29-B08E-D18DCDFA9651}" dt="2024-02-03T03:21:47.693" v="1" actId="20577"/>
          <ac:spMkLst>
            <pc:docMk/>
            <pc:sldMk cId="1881092197" sldId="855"/>
            <ac:spMk id="3" creationId="{23C63934-04CC-F21C-59FC-C580A9F65EC3}"/>
          </ac:spMkLst>
        </pc:spChg>
      </pc:sldChg>
    </pc:docChg>
  </pc:docChgLst>
  <pc:docChgLst>
    <pc:chgData name="Alana Rivera" userId="S::arg3669@ads.northwestern.edu::fc8b707a-b7e9-4f2a-8d71-2d76819b7881" providerId="AD" clId="Web-{7F79E5CD-596E-0168-CC65-8930D8E05734}"/>
    <pc:docChg chg="delSld modSld">
      <pc:chgData name="Alana Rivera" userId="S::arg3669@ads.northwestern.edu::fc8b707a-b7e9-4f2a-8d71-2d76819b7881" providerId="AD" clId="Web-{7F79E5CD-596E-0168-CC65-8930D8E05734}" dt="2024-02-13T15:53:47.789" v="42"/>
      <pc:docMkLst>
        <pc:docMk/>
      </pc:docMkLst>
      <pc:sldChg chg="modSp">
        <pc:chgData name="Alana Rivera" userId="S::arg3669@ads.northwestern.edu::fc8b707a-b7e9-4f2a-8d71-2d76819b7881" providerId="AD" clId="Web-{7F79E5CD-596E-0168-CC65-8930D8E05734}" dt="2024-02-13T15:51:32.239" v="41" actId="20577"/>
        <pc:sldMkLst>
          <pc:docMk/>
          <pc:sldMk cId="4044691067" sldId="283"/>
        </pc:sldMkLst>
        <pc:spChg chg="mod">
          <ac:chgData name="Alana Rivera" userId="S::arg3669@ads.northwestern.edu::fc8b707a-b7e9-4f2a-8d71-2d76819b7881" providerId="AD" clId="Web-{7F79E5CD-596E-0168-CC65-8930D8E05734}" dt="2024-02-13T15:51:32.239" v="41" actId="20577"/>
          <ac:spMkLst>
            <pc:docMk/>
            <pc:sldMk cId="4044691067" sldId="283"/>
            <ac:spMk id="5" creationId="{F0B2A739-51C3-9CBF-7F6C-3EE69AAB6035}"/>
          </ac:spMkLst>
        </pc:spChg>
      </pc:sldChg>
      <pc:sldChg chg="del">
        <pc:chgData name="Alana Rivera" userId="S::arg3669@ads.northwestern.edu::fc8b707a-b7e9-4f2a-8d71-2d76819b7881" providerId="AD" clId="Web-{7F79E5CD-596E-0168-CC65-8930D8E05734}" dt="2024-02-13T15:53:47.789" v="42"/>
        <pc:sldMkLst>
          <pc:docMk/>
          <pc:sldMk cId="1617559145" sldId="825"/>
        </pc:sldMkLst>
      </pc:sldChg>
    </pc:docChg>
  </pc:docChgLst>
  <pc:docChgLst>
    <pc:chgData name="Kiela Karina Moreno" userId="S::mpg7143@ads.northwestern.edu::1e897b35-0dd4-497a-9ab7-7a37e6c39d5b" providerId="AD" clId="Web-{4A6B99BC-4437-2C96-1953-AC30156BC5E3}"/>
    <pc:docChg chg="addSld modSld sldOrd">
      <pc:chgData name="Kiela Karina Moreno" userId="S::mpg7143@ads.northwestern.edu::1e897b35-0dd4-497a-9ab7-7a37e6c39d5b" providerId="AD" clId="Web-{4A6B99BC-4437-2C96-1953-AC30156BC5E3}" dt="2024-02-17T03:23:00.805" v="1942" actId="20577"/>
      <pc:docMkLst>
        <pc:docMk/>
      </pc:docMkLst>
      <pc:sldChg chg="modSp">
        <pc:chgData name="Kiela Karina Moreno" userId="S::mpg7143@ads.northwestern.edu::1e897b35-0dd4-497a-9ab7-7a37e6c39d5b" providerId="AD" clId="Web-{4A6B99BC-4437-2C96-1953-AC30156BC5E3}" dt="2024-02-17T00:24:32.026" v="512" actId="20577"/>
        <pc:sldMkLst>
          <pc:docMk/>
          <pc:sldMk cId="4044691067" sldId="283"/>
        </pc:sldMkLst>
        <pc:spChg chg="mod">
          <ac:chgData name="Kiela Karina Moreno" userId="S::mpg7143@ads.northwestern.edu::1e897b35-0dd4-497a-9ab7-7a37e6c39d5b" providerId="AD" clId="Web-{4A6B99BC-4437-2C96-1953-AC30156BC5E3}" dt="2024-02-17T00:24:32.026" v="512" actId="20577"/>
          <ac:spMkLst>
            <pc:docMk/>
            <pc:sldMk cId="4044691067" sldId="283"/>
            <ac:spMk id="5" creationId="{F0B2A739-51C3-9CBF-7F6C-3EE69AAB6035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6T23:39:51.320" v="136"/>
          <ac:picMkLst>
            <pc:docMk/>
            <pc:sldMk cId="4044691067" sldId="283"/>
            <ac:picMk id="2" creationId="{4E44033E-2F3E-0C8C-79D1-4A8A074333CD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6T23:39:46.789" v="135" actId="1076"/>
          <ac:picMkLst>
            <pc:docMk/>
            <pc:sldMk cId="4044691067" sldId="283"/>
            <ac:picMk id="3" creationId="{67CCC365-22DB-D748-55BC-F2D4D24F121F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6T23:39:57.555" v="138" actId="1076"/>
          <ac:picMkLst>
            <pc:docMk/>
            <pc:sldMk cId="4044691067" sldId="283"/>
            <ac:picMk id="6" creationId="{55A968CF-1C20-EB34-0C1E-D2FFE54F0CC9}"/>
          </ac:picMkLst>
        </pc:picChg>
      </pc:sldChg>
      <pc:sldChg chg="addSp delSp modSp">
        <pc:chgData name="Kiela Karina Moreno" userId="S::mpg7143@ads.northwestern.edu::1e897b35-0dd4-497a-9ab7-7a37e6c39d5b" providerId="AD" clId="Web-{4A6B99BC-4437-2C96-1953-AC30156BC5E3}" dt="2024-02-17T00:35:46.110" v="639"/>
        <pc:sldMkLst>
          <pc:docMk/>
          <pc:sldMk cId="807528301" sldId="787"/>
        </pc:sldMkLst>
        <pc:spChg chg="del">
          <ac:chgData name="Kiela Karina Moreno" userId="S::mpg7143@ads.northwestern.edu::1e897b35-0dd4-497a-9ab7-7a37e6c39d5b" providerId="AD" clId="Web-{4A6B99BC-4437-2C96-1953-AC30156BC5E3}" dt="2024-02-17T00:35:45.235" v="638"/>
          <ac:spMkLst>
            <pc:docMk/>
            <pc:sldMk cId="807528301" sldId="787"/>
            <ac:spMk id="5" creationId="{A410F866-E94C-4DF4-A60B-5B422DB1716A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0:35:46.110" v="639"/>
          <ac:spMkLst>
            <pc:docMk/>
            <pc:sldMk cId="807528301" sldId="787"/>
            <ac:spMk id="6" creationId="{9DD0AE2C-E620-7784-B0B3-44A412F053AC}"/>
          </ac:spMkLst>
        </pc:spChg>
      </pc:sldChg>
      <pc:sldChg chg="ord">
        <pc:chgData name="Kiela Karina Moreno" userId="S::mpg7143@ads.northwestern.edu::1e897b35-0dd4-497a-9ab7-7a37e6c39d5b" providerId="AD" clId="Web-{4A6B99BC-4437-2C96-1953-AC30156BC5E3}" dt="2024-02-17T01:37:15.650" v="1749"/>
        <pc:sldMkLst>
          <pc:docMk/>
          <pc:sldMk cId="2688480143" sldId="821"/>
        </pc:sldMkLst>
      </pc:sldChg>
      <pc:sldChg chg="delSp modSp">
        <pc:chgData name="Kiela Karina Moreno" userId="S::mpg7143@ads.northwestern.edu::1e897b35-0dd4-497a-9ab7-7a37e6c39d5b" providerId="AD" clId="Web-{4A6B99BC-4437-2C96-1953-AC30156BC5E3}" dt="2024-02-17T00:59:59.990" v="1598"/>
        <pc:sldMkLst>
          <pc:docMk/>
          <pc:sldMk cId="4099246298" sldId="830"/>
        </pc:sldMkLst>
        <pc:spChg chg="mod">
          <ac:chgData name="Kiela Karina Moreno" userId="S::mpg7143@ads.northwestern.edu::1e897b35-0dd4-497a-9ab7-7a37e6c39d5b" providerId="AD" clId="Web-{4A6B99BC-4437-2C96-1953-AC30156BC5E3}" dt="2024-02-17T00:39:36.680" v="683" actId="20577"/>
          <ac:spMkLst>
            <pc:docMk/>
            <pc:sldMk cId="4099246298" sldId="830"/>
            <ac:spMk id="2" creationId="{EE99E557-0E3A-FE44-7651-9B517AB7FE25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0:39:40.524" v="685" actId="1076"/>
          <ac:spMkLst>
            <pc:docMk/>
            <pc:sldMk cId="4099246298" sldId="830"/>
            <ac:spMk id="3" creationId="{CF9BF4C4-C441-4125-0D36-AFACCDDD6450}"/>
          </ac:spMkLst>
        </pc:spChg>
        <pc:spChg chg="del mod">
          <ac:chgData name="Kiela Karina Moreno" userId="S::mpg7143@ads.northwestern.edu::1e897b35-0dd4-497a-9ab7-7a37e6c39d5b" providerId="AD" clId="Web-{4A6B99BC-4437-2C96-1953-AC30156BC5E3}" dt="2024-02-17T00:39:18.602" v="664"/>
          <ac:spMkLst>
            <pc:docMk/>
            <pc:sldMk cId="4099246298" sldId="830"/>
            <ac:spMk id="5" creationId="{31723F5D-D907-C425-FB25-443C9127F8D2}"/>
          </ac:spMkLst>
        </pc:spChg>
        <pc:spChg chg="del mod">
          <ac:chgData name="Kiela Karina Moreno" userId="S::mpg7143@ads.northwestern.edu::1e897b35-0dd4-497a-9ab7-7a37e6c39d5b" providerId="AD" clId="Web-{4A6B99BC-4437-2C96-1953-AC30156BC5E3}" dt="2024-02-17T00:39:18.602" v="663"/>
          <ac:spMkLst>
            <pc:docMk/>
            <pc:sldMk cId="4099246298" sldId="830"/>
            <ac:spMk id="7" creationId="{5C4018D8-81AF-36D5-48D9-B4ABF5C0928D}"/>
          </ac:spMkLst>
        </pc:spChg>
        <pc:spChg chg="del mod">
          <ac:chgData name="Kiela Karina Moreno" userId="S::mpg7143@ads.northwestern.edu::1e897b35-0dd4-497a-9ab7-7a37e6c39d5b" providerId="AD" clId="Web-{4A6B99BC-4437-2C96-1953-AC30156BC5E3}" dt="2024-02-17T00:39:18.602" v="662"/>
          <ac:spMkLst>
            <pc:docMk/>
            <pc:sldMk cId="4099246298" sldId="830"/>
            <ac:spMk id="8" creationId="{FFB50479-1A03-39C5-3875-7597F46F262A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0:39:40.540" v="686" actId="1076"/>
          <ac:spMkLst>
            <pc:docMk/>
            <pc:sldMk cId="4099246298" sldId="830"/>
            <ac:spMk id="9" creationId="{A38494CB-EE44-FBDA-67F8-A56AE6807060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0:39:40.524" v="684" actId="1076"/>
          <ac:spMkLst>
            <pc:docMk/>
            <pc:sldMk cId="4099246298" sldId="830"/>
            <ac:spMk id="10" creationId="{47D75B78-31BC-388D-A44C-F2D944EF934E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0:39:40.540" v="687" actId="1076"/>
          <ac:spMkLst>
            <pc:docMk/>
            <pc:sldMk cId="4099246298" sldId="830"/>
            <ac:spMk id="11" creationId="{BE8384DB-3B7E-A4D4-BD88-95948D959E6B}"/>
          </ac:spMkLst>
        </pc:spChg>
        <pc:picChg chg="mod modCrop">
          <ac:chgData name="Kiela Karina Moreno" userId="S::mpg7143@ads.northwestern.edu::1e897b35-0dd4-497a-9ab7-7a37e6c39d5b" providerId="AD" clId="Web-{4A6B99BC-4437-2C96-1953-AC30156BC5E3}" dt="2024-02-17T00:59:59.990" v="1598"/>
          <ac:picMkLst>
            <pc:docMk/>
            <pc:sldMk cId="4099246298" sldId="830"/>
            <ac:picMk id="12" creationId="{B11771C7-349D-3F1D-D5FE-4024B38F3277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39:45.853" v="689" actId="1076"/>
          <ac:picMkLst>
            <pc:docMk/>
            <pc:sldMk cId="4099246298" sldId="830"/>
            <ac:picMk id="13" creationId="{57368AFE-1503-7417-7C08-921A66CA871A}"/>
          </ac:picMkLst>
        </pc:picChg>
        <pc:picChg chg="del mod">
          <ac:chgData name="Kiela Karina Moreno" userId="S::mpg7143@ads.northwestern.edu::1e897b35-0dd4-497a-9ab7-7a37e6c39d5b" providerId="AD" clId="Web-{4A6B99BC-4437-2C96-1953-AC30156BC5E3}" dt="2024-02-17T00:39:18.602" v="665"/>
          <ac:picMkLst>
            <pc:docMk/>
            <pc:sldMk cId="4099246298" sldId="830"/>
            <ac:picMk id="14" creationId="{184D2E2F-1E5E-04D0-01AA-07C03BF9D49E}"/>
          </ac:picMkLst>
        </pc:picChg>
      </pc:sldChg>
      <pc:sldChg chg="modSp modNotes">
        <pc:chgData name="Kiela Karina Moreno" userId="S::mpg7143@ads.northwestern.edu::1e897b35-0dd4-497a-9ab7-7a37e6c39d5b" providerId="AD" clId="Web-{4A6B99BC-4437-2C96-1953-AC30156BC5E3}" dt="2024-02-17T00:38:53.929" v="657"/>
        <pc:sldMkLst>
          <pc:docMk/>
          <pc:sldMk cId="1383153618" sldId="832"/>
        </pc:sldMkLst>
        <pc:spChg chg="mod">
          <ac:chgData name="Kiela Karina Moreno" userId="S::mpg7143@ads.northwestern.edu::1e897b35-0dd4-497a-9ab7-7a37e6c39d5b" providerId="AD" clId="Web-{4A6B99BC-4437-2C96-1953-AC30156BC5E3}" dt="2024-02-16T23:25:37.152" v="49" actId="1076"/>
          <ac:spMkLst>
            <pc:docMk/>
            <pc:sldMk cId="1383153618" sldId="832"/>
            <ac:spMk id="6" creationId="{3BEB7261-6CAD-A586-63E2-7EFA2E7C8857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6T23:25:40.136" v="50" actId="1076"/>
          <ac:picMkLst>
            <pc:docMk/>
            <pc:sldMk cId="1383153618" sldId="832"/>
            <ac:picMk id="5" creationId="{8B33EB59-604B-4C20-B41F-710AE570BE3B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38:53.929" v="657"/>
          <ac:picMkLst>
            <pc:docMk/>
            <pc:sldMk cId="1383153618" sldId="832"/>
            <ac:picMk id="7" creationId="{9F750BFA-7CD3-D6B3-E929-7780FBD1D480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38:50.460" v="656"/>
          <ac:picMkLst>
            <pc:docMk/>
            <pc:sldMk cId="1383153618" sldId="832"/>
            <ac:picMk id="9" creationId="{9EA02C1C-27BB-D0B9-13FF-7769D90AD04A}"/>
          </ac:picMkLst>
        </pc:picChg>
      </pc:sldChg>
      <pc:sldChg chg="modSp">
        <pc:chgData name="Kiela Karina Moreno" userId="S::mpg7143@ads.northwestern.edu::1e897b35-0dd4-497a-9ab7-7a37e6c39d5b" providerId="AD" clId="Web-{4A6B99BC-4437-2C96-1953-AC30156BC5E3}" dt="2024-02-16T23:27:39.921" v="62" actId="14100"/>
        <pc:sldMkLst>
          <pc:docMk/>
          <pc:sldMk cId="1341783838" sldId="848"/>
        </pc:sldMkLst>
        <pc:spChg chg="mod">
          <ac:chgData name="Kiela Karina Moreno" userId="S::mpg7143@ads.northwestern.edu::1e897b35-0dd4-497a-9ab7-7a37e6c39d5b" providerId="AD" clId="Web-{4A6B99BC-4437-2C96-1953-AC30156BC5E3}" dt="2024-02-16T23:27:39.921" v="62" actId="14100"/>
          <ac:spMkLst>
            <pc:docMk/>
            <pc:sldMk cId="1341783838" sldId="848"/>
            <ac:spMk id="2" creationId="{304FC3E6-8E03-4AD0-DC5A-624DF52B6ED0}"/>
          </ac:spMkLst>
        </pc:spChg>
      </pc:sldChg>
      <pc:sldChg chg="addSp delSp modSp">
        <pc:chgData name="Kiela Karina Moreno" userId="S::mpg7143@ads.northwestern.edu::1e897b35-0dd4-497a-9ab7-7a37e6c39d5b" providerId="AD" clId="Web-{4A6B99BC-4437-2C96-1953-AC30156BC5E3}" dt="2024-02-17T00:10:35.431" v="467" actId="14100"/>
        <pc:sldMkLst>
          <pc:docMk/>
          <pc:sldMk cId="3558960164" sldId="849"/>
        </pc:sldMkLst>
        <pc:spChg chg="del mod">
          <ac:chgData name="Kiela Karina Moreno" userId="S::mpg7143@ads.northwestern.edu::1e897b35-0dd4-497a-9ab7-7a37e6c39d5b" providerId="AD" clId="Web-{4A6B99BC-4437-2C96-1953-AC30156BC5E3}" dt="2024-02-17T00:10:18.149" v="454"/>
          <ac:spMkLst>
            <pc:docMk/>
            <pc:sldMk cId="3558960164" sldId="849"/>
            <ac:spMk id="2" creationId="{F3279978-6647-EDE0-87A0-C3A213094B47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0:10:35.431" v="467" actId="14100"/>
          <ac:spMkLst>
            <pc:docMk/>
            <pc:sldMk cId="3558960164" sldId="849"/>
            <ac:spMk id="4" creationId="{DE23CA24-BB1C-352E-DF4F-F62D3865BC86}"/>
          </ac:spMkLst>
        </pc:spChg>
        <pc:spChg chg="add del mod">
          <ac:chgData name="Kiela Karina Moreno" userId="S::mpg7143@ads.northwestern.edu::1e897b35-0dd4-497a-9ab7-7a37e6c39d5b" providerId="AD" clId="Web-{4A6B99BC-4437-2C96-1953-AC30156BC5E3}" dt="2024-02-17T00:10:22.337" v="456"/>
          <ac:spMkLst>
            <pc:docMk/>
            <pc:sldMk cId="3558960164" sldId="849"/>
            <ac:spMk id="6" creationId="{0A6ACCFF-EAF4-E7F6-F64B-39FFD4E9102B}"/>
          </ac:spMkLst>
        </pc:spChg>
      </pc:sldChg>
      <pc:sldChg chg="modSp">
        <pc:chgData name="Kiela Karina Moreno" userId="S::mpg7143@ads.northwestern.edu::1e897b35-0dd4-497a-9ab7-7a37e6c39d5b" providerId="AD" clId="Web-{4A6B99BC-4437-2C96-1953-AC30156BC5E3}" dt="2024-02-16T23:28:08.547" v="66" actId="14100"/>
        <pc:sldMkLst>
          <pc:docMk/>
          <pc:sldMk cId="777023516" sldId="851"/>
        </pc:sldMkLst>
        <pc:spChg chg="mod">
          <ac:chgData name="Kiela Karina Moreno" userId="S::mpg7143@ads.northwestern.edu::1e897b35-0dd4-497a-9ab7-7a37e6c39d5b" providerId="AD" clId="Web-{4A6B99BC-4437-2C96-1953-AC30156BC5E3}" dt="2024-02-16T23:28:08.547" v="66" actId="14100"/>
          <ac:spMkLst>
            <pc:docMk/>
            <pc:sldMk cId="777023516" sldId="851"/>
            <ac:spMk id="3" creationId="{A068D812-8336-152D-B896-A021E583E31E}"/>
          </ac:spMkLst>
        </pc:spChg>
      </pc:sldChg>
      <pc:sldChg chg="modSp ord">
        <pc:chgData name="Kiela Karina Moreno" userId="S::mpg7143@ads.northwestern.edu::1e897b35-0dd4-497a-9ab7-7a37e6c39d5b" providerId="AD" clId="Web-{4A6B99BC-4437-2C96-1953-AC30156BC5E3}" dt="2024-02-17T00:37:59.380" v="652"/>
        <pc:sldMkLst>
          <pc:docMk/>
          <pc:sldMk cId="1881092197" sldId="855"/>
        </pc:sldMkLst>
        <pc:picChg chg="mod">
          <ac:chgData name="Kiela Karina Moreno" userId="S::mpg7143@ads.northwestern.edu::1e897b35-0dd4-497a-9ab7-7a37e6c39d5b" providerId="AD" clId="Web-{4A6B99BC-4437-2C96-1953-AC30156BC5E3}" dt="2024-02-17T00:37:59.380" v="652"/>
          <ac:picMkLst>
            <pc:docMk/>
            <pc:sldMk cId="1881092197" sldId="855"/>
            <ac:picMk id="6" creationId="{A1D15831-3EEA-F72A-127E-8E266DC22CAE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31:01.320" v="559"/>
          <ac:picMkLst>
            <pc:docMk/>
            <pc:sldMk cId="1881092197" sldId="855"/>
            <ac:picMk id="12" creationId="{52178671-9617-C000-23A9-3B41BB9005F6}"/>
          </ac:picMkLst>
        </pc:picChg>
      </pc:sldChg>
      <pc:sldChg chg="modSp modNotes">
        <pc:chgData name="Kiela Karina Moreno" userId="S::mpg7143@ads.northwestern.edu::1e897b35-0dd4-497a-9ab7-7a37e6c39d5b" providerId="AD" clId="Web-{4A6B99BC-4437-2C96-1953-AC30156BC5E3}" dt="2024-02-17T00:36:50.941" v="645" actId="20577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4A6B99BC-4437-2C96-1953-AC30156BC5E3}" dt="2024-02-17T00:36:50.941" v="645" actId="20577"/>
          <ac:spMkLst>
            <pc:docMk/>
            <pc:sldMk cId="2820585005" sldId="856"/>
            <ac:spMk id="5" creationId="{128C267F-D634-3898-5F27-33D0A5C5B94E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7T00:23:40.134" v="510"/>
          <ac:picMkLst>
            <pc:docMk/>
            <pc:sldMk cId="2820585005" sldId="856"/>
            <ac:picMk id="4" creationId="{D871A503-23FB-EE33-8CF4-FDC8DA5B2A6A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23:34.962" v="509"/>
          <ac:picMkLst>
            <pc:docMk/>
            <pc:sldMk cId="2820585005" sldId="856"/>
            <ac:picMk id="14" creationId="{2B69C350-F004-B8ED-9201-16F0669E2379}"/>
          </ac:picMkLst>
        </pc:picChg>
      </pc:sldChg>
      <pc:sldChg chg="addSp delSp modSp">
        <pc:chgData name="Kiela Karina Moreno" userId="S::mpg7143@ads.northwestern.edu::1e897b35-0dd4-497a-9ab7-7a37e6c39d5b" providerId="AD" clId="Web-{4A6B99BC-4437-2C96-1953-AC30156BC5E3}" dt="2024-02-17T03:14:30.319" v="1874" actId="14100"/>
        <pc:sldMkLst>
          <pc:docMk/>
          <pc:sldMk cId="3358532880" sldId="860"/>
        </pc:sldMkLst>
        <pc:spChg chg="mod">
          <ac:chgData name="Kiela Karina Moreno" userId="S::mpg7143@ads.northwestern.edu::1e897b35-0dd4-497a-9ab7-7a37e6c39d5b" providerId="AD" clId="Web-{4A6B99BC-4437-2C96-1953-AC30156BC5E3}" dt="2024-02-17T03:14:30.319" v="1874" actId="14100"/>
          <ac:spMkLst>
            <pc:docMk/>
            <pc:sldMk cId="3358532880" sldId="860"/>
            <ac:spMk id="3" creationId="{915C96FB-CA3E-FB7D-FA87-C8B63F874A7E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6T23:52:32.927" v="252" actId="20577"/>
          <ac:spMkLst>
            <pc:docMk/>
            <pc:sldMk cId="3358532880" sldId="860"/>
            <ac:spMk id="5" creationId="{AD69717A-2BD8-597E-FC87-0EB07ED0EC55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6T23:51:48.238" v="241" actId="1076"/>
          <ac:spMkLst>
            <pc:docMk/>
            <pc:sldMk cId="3358532880" sldId="860"/>
            <ac:spMk id="6" creationId="{0A19B7D0-D2C1-0E7C-DA5D-71EC98546092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7T01:38:14.699" v="1752" actId="1076"/>
          <ac:picMkLst>
            <pc:docMk/>
            <pc:sldMk cId="3358532880" sldId="860"/>
            <ac:picMk id="2" creationId="{E126513D-7058-FD7E-490C-06EFFE78B6E0}"/>
          </ac:picMkLst>
        </pc:picChg>
        <pc:picChg chg="add mod">
          <ac:chgData name="Kiela Karina Moreno" userId="S::mpg7143@ads.northwestern.edu::1e897b35-0dd4-497a-9ab7-7a37e6c39d5b" providerId="AD" clId="Web-{4A6B99BC-4437-2C96-1953-AC30156BC5E3}" dt="2024-02-17T03:14:27.022" v="1873" actId="1076"/>
          <ac:picMkLst>
            <pc:docMk/>
            <pc:sldMk cId="3358532880" sldId="860"/>
            <ac:picMk id="8" creationId="{4F4EBF5D-F8F8-1712-0D67-C890B1F35F70}"/>
          </ac:picMkLst>
        </pc:picChg>
        <pc:picChg chg="del">
          <ac:chgData name="Kiela Karina Moreno" userId="S::mpg7143@ads.northwestern.edu::1e897b35-0dd4-497a-9ab7-7a37e6c39d5b" providerId="AD" clId="Web-{4A6B99BC-4437-2C96-1953-AC30156BC5E3}" dt="2024-02-16T23:52:08.879" v="249"/>
          <ac:picMkLst>
            <pc:docMk/>
            <pc:sldMk cId="3358532880" sldId="860"/>
            <ac:picMk id="8" creationId="{6486A3DB-CA2B-7052-360C-64DBCA9F0A92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1:38:17.449" v="1753" actId="1076"/>
          <ac:picMkLst>
            <pc:docMk/>
            <pc:sldMk cId="3358532880" sldId="860"/>
            <ac:picMk id="9" creationId="{A389B444-3A7F-CA7D-21D3-8CFAC5169525}"/>
          </ac:picMkLst>
        </pc:picChg>
        <pc:picChg chg="del mod">
          <ac:chgData name="Kiela Karina Moreno" userId="S::mpg7143@ads.northwestern.edu::1e897b35-0dd4-497a-9ab7-7a37e6c39d5b" providerId="AD" clId="Web-{4A6B99BC-4437-2C96-1953-AC30156BC5E3}" dt="2024-02-17T01:38:12.386" v="1751"/>
          <ac:picMkLst>
            <pc:docMk/>
            <pc:sldMk cId="3358532880" sldId="860"/>
            <ac:picMk id="10" creationId="{399102DC-10BB-3425-6E6A-162EEF0D99FE}"/>
          </ac:picMkLst>
        </pc:picChg>
      </pc:sldChg>
      <pc:sldChg chg="addSp modSp">
        <pc:chgData name="Kiela Karina Moreno" userId="S::mpg7143@ads.northwestern.edu::1e897b35-0dd4-497a-9ab7-7a37e6c39d5b" providerId="AD" clId="Web-{4A6B99BC-4437-2C96-1953-AC30156BC5E3}" dt="2024-02-17T03:14:48.398" v="1879" actId="14100"/>
        <pc:sldMkLst>
          <pc:docMk/>
          <pc:sldMk cId="3254557287" sldId="861"/>
        </pc:sldMkLst>
        <pc:spChg chg="mod">
          <ac:chgData name="Kiela Karina Moreno" userId="S::mpg7143@ads.northwestern.edu::1e897b35-0dd4-497a-9ab7-7a37e6c39d5b" providerId="AD" clId="Web-{4A6B99BC-4437-2C96-1953-AC30156BC5E3}" dt="2024-02-17T03:14:48.398" v="1879" actId="14100"/>
          <ac:spMkLst>
            <pc:docMk/>
            <pc:sldMk cId="3254557287" sldId="861"/>
            <ac:spMk id="3" creationId="{B5CF8736-CF94-7C4E-D38E-73EDEAE3BE52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3:13:53.318" v="1869" actId="20577"/>
          <ac:spMkLst>
            <pc:docMk/>
            <pc:sldMk cId="3254557287" sldId="861"/>
            <ac:spMk id="7" creationId="{00242547-8889-9F47-6186-47CBD0946F00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6T23:55:50.402" v="256"/>
          <ac:picMkLst>
            <pc:docMk/>
            <pc:sldMk cId="3254557287" sldId="861"/>
            <ac:picMk id="2" creationId="{C3BC3C66-A4E2-A452-93C9-1618D77C7239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3:14:00.600" v="1870" actId="1076"/>
          <ac:picMkLst>
            <pc:docMk/>
            <pc:sldMk cId="3254557287" sldId="861"/>
            <ac:picMk id="8" creationId="{C94C76DA-32C2-EFB4-2211-806DE110BA6E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3:13:49.506" v="1867" actId="1076"/>
          <ac:picMkLst>
            <pc:docMk/>
            <pc:sldMk cId="3254557287" sldId="861"/>
            <ac:picMk id="11" creationId="{7F301ACB-E1F4-AE71-96D6-B0EAAB86E897}"/>
          </ac:picMkLst>
        </pc:picChg>
        <pc:picChg chg="add mod">
          <ac:chgData name="Kiela Karina Moreno" userId="S::mpg7143@ads.northwestern.edu::1e897b35-0dd4-497a-9ab7-7a37e6c39d5b" providerId="AD" clId="Web-{4A6B99BC-4437-2C96-1953-AC30156BC5E3}" dt="2024-02-17T03:14:44.648" v="1877" actId="1076"/>
          <ac:picMkLst>
            <pc:docMk/>
            <pc:sldMk cId="3254557287" sldId="861"/>
            <ac:picMk id="12" creationId="{F3B23B59-B782-489B-D53A-34B58703FEC7}"/>
          </ac:picMkLst>
        </pc:picChg>
      </pc:sldChg>
      <pc:sldChg chg="modSp">
        <pc:chgData name="Kiela Karina Moreno" userId="S::mpg7143@ads.northwestern.edu::1e897b35-0dd4-497a-9ab7-7a37e6c39d5b" providerId="AD" clId="Web-{4A6B99BC-4437-2C96-1953-AC30156BC5E3}" dt="2024-02-16T23:47:19.245" v="176" actId="14100"/>
        <pc:sldMkLst>
          <pc:docMk/>
          <pc:sldMk cId="2947401908" sldId="865"/>
        </pc:sldMkLst>
        <pc:spChg chg="mod">
          <ac:chgData name="Kiela Karina Moreno" userId="S::mpg7143@ads.northwestern.edu::1e897b35-0dd4-497a-9ab7-7a37e6c39d5b" providerId="AD" clId="Web-{4A6B99BC-4437-2C96-1953-AC30156BC5E3}" dt="2024-02-16T23:47:19.245" v="176" actId="14100"/>
          <ac:spMkLst>
            <pc:docMk/>
            <pc:sldMk cId="2947401908" sldId="865"/>
            <ac:spMk id="2" creationId="{3DDA825D-4829-111F-EAFA-DD3F2F2D6B3C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6T23:46:49.775" v="175"/>
          <ac:picMkLst>
            <pc:docMk/>
            <pc:sldMk cId="2947401908" sldId="865"/>
            <ac:picMk id="6" creationId="{DD93EB28-89D2-BF0A-D2EB-20AA3803138D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6T23:46:43.228" v="174"/>
          <ac:picMkLst>
            <pc:docMk/>
            <pc:sldMk cId="2947401908" sldId="865"/>
            <ac:picMk id="7" creationId="{5DF407C2-305B-55CA-1BFB-EB360EC1C7A9}"/>
          </ac:picMkLst>
        </pc:picChg>
      </pc:sldChg>
      <pc:sldChg chg="addSp delSp modSp modNotes">
        <pc:chgData name="Kiela Karina Moreno" userId="S::mpg7143@ads.northwestern.edu::1e897b35-0dd4-497a-9ab7-7a37e6c39d5b" providerId="AD" clId="Web-{4A6B99BC-4437-2C96-1953-AC30156BC5E3}" dt="2024-02-17T01:06:50.253" v="1644" actId="20577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4A6B99BC-4437-2C96-1953-AC30156BC5E3}" dt="2024-02-17T00:57:22.078" v="1556" actId="14100"/>
          <ac:spMkLst>
            <pc:docMk/>
            <pc:sldMk cId="1914631794" sldId="866"/>
            <ac:spMk id="2" creationId="{B8576EA4-3DF4-E9A6-5CD8-6AB4F95F4CBD}"/>
          </ac:spMkLst>
        </pc:spChg>
        <pc:spChg chg="del">
          <ac:chgData name="Kiela Karina Moreno" userId="S::mpg7143@ads.northwestern.edu::1e897b35-0dd4-497a-9ab7-7a37e6c39d5b" providerId="AD" clId="Web-{4A6B99BC-4437-2C96-1953-AC30156BC5E3}" dt="2024-02-17T00:09:15.960" v="450"/>
          <ac:spMkLst>
            <pc:docMk/>
            <pc:sldMk cId="1914631794" sldId="866"/>
            <ac:spMk id="3" creationId="{5EC312F1-9F6E-D473-207C-7D9046AEEDE1}"/>
          </ac:spMkLst>
        </pc:spChg>
        <pc:spChg chg="del mod">
          <ac:chgData name="Kiela Karina Moreno" userId="S::mpg7143@ads.northwestern.edu::1e897b35-0dd4-497a-9ab7-7a37e6c39d5b" providerId="AD" clId="Web-{4A6B99BC-4437-2C96-1953-AC30156BC5E3}" dt="2024-02-17T00:55:21.981" v="1535"/>
          <ac:spMkLst>
            <pc:docMk/>
            <pc:sldMk cId="1914631794" sldId="866"/>
            <ac:spMk id="7" creationId="{A613F0CA-0B42-2365-025C-A56F8FFC9B87}"/>
          </ac:spMkLst>
        </pc:spChg>
        <pc:spChg chg="del">
          <ac:chgData name="Kiela Karina Moreno" userId="S::mpg7143@ads.northwestern.edu::1e897b35-0dd4-497a-9ab7-7a37e6c39d5b" providerId="AD" clId="Web-{4A6B99BC-4437-2C96-1953-AC30156BC5E3}" dt="2024-02-17T00:09:15.960" v="449"/>
          <ac:spMkLst>
            <pc:docMk/>
            <pc:sldMk cId="1914631794" sldId="866"/>
            <ac:spMk id="8" creationId="{E47F76B0-6B6E-EEFB-EB7C-CF553EF99CB9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1:06:50.253" v="1644" actId="20577"/>
          <ac:spMkLst>
            <pc:docMk/>
            <pc:sldMk cId="1914631794" sldId="866"/>
            <ac:spMk id="17" creationId="{84EC5A6F-2845-FD2B-6970-CD251896E73C}"/>
          </ac:spMkLst>
        </pc:spChg>
        <pc:spChg chg="add del mod">
          <ac:chgData name="Kiela Karina Moreno" userId="S::mpg7143@ads.northwestern.edu::1e897b35-0dd4-497a-9ab7-7a37e6c39d5b" providerId="AD" clId="Web-{4A6B99BC-4437-2C96-1953-AC30156BC5E3}" dt="2024-02-17T00:46:37.086" v="1144"/>
          <ac:spMkLst>
            <pc:docMk/>
            <pc:sldMk cId="1914631794" sldId="866"/>
            <ac:spMk id="18" creationId="{152AF9C0-C038-DCA4-B693-44120957D144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6T23:55:29.542" v="254"/>
          <ac:picMkLst>
            <pc:docMk/>
            <pc:sldMk cId="1914631794" sldId="866"/>
            <ac:picMk id="5" creationId="{272F66D1-F206-2103-9ACB-0E023A19B505}"/>
          </ac:picMkLst>
        </pc:picChg>
        <pc:picChg chg="del mod">
          <ac:chgData name="Kiela Karina Moreno" userId="S::mpg7143@ads.northwestern.edu::1e897b35-0dd4-497a-9ab7-7a37e6c39d5b" providerId="AD" clId="Web-{4A6B99BC-4437-2C96-1953-AC30156BC5E3}" dt="2024-02-17T00:56:39.921" v="1543"/>
          <ac:picMkLst>
            <pc:docMk/>
            <pc:sldMk cId="1914631794" sldId="866"/>
            <ac:picMk id="6" creationId="{170DA514-D401-ABBC-10A2-D18AFAD15C5C}"/>
          </ac:picMkLst>
        </pc:picChg>
        <pc:picChg chg="del mod">
          <ac:chgData name="Kiela Karina Moreno" userId="S::mpg7143@ads.northwestern.edu::1e897b35-0dd4-497a-9ab7-7a37e6c39d5b" providerId="AD" clId="Web-{4A6B99BC-4437-2C96-1953-AC30156BC5E3}" dt="2024-02-17T00:57:28.813" v="1559"/>
          <ac:picMkLst>
            <pc:docMk/>
            <pc:sldMk cId="1914631794" sldId="866"/>
            <ac:picMk id="9" creationId="{99B6826D-1366-6D7F-CF5D-AC4B16D19B02}"/>
          </ac:picMkLst>
        </pc:picChg>
        <pc:picChg chg="del mod">
          <ac:chgData name="Kiela Karina Moreno" userId="S::mpg7143@ads.northwestern.edu::1e897b35-0dd4-497a-9ab7-7a37e6c39d5b" providerId="AD" clId="Web-{4A6B99BC-4437-2C96-1953-AC30156BC5E3}" dt="2024-02-17T00:42:47.374" v="709"/>
          <ac:picMkLst>
            <pc:docMk/>
            <pc:sldMk cId="1914631794" sldId="866"/>
            <ac:picMk id="10" creationId="{BDE4C097-FD45-67E2-FE8B-F7BEBC591BB1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6T23:55:25.698" v="253"/>
          <ac:picMkLst>
            <pc:docMk/>
            <pc:sldMk cId="1914631794" sldId="866"/>
            <ac:picMk id="11" creationId="{5805DF79-E645-A5A2-5559-A460AAA4DE6D}"/>
          </ac:picMkLst>
        </pc:picChg>
        <pc:picChg chg="del">
          <ac:chgData name="Kiela Karina Moreno" userId="S::mpg7143@ads.northwestern.edu::1e897b35-0dd4-497a-9ab7-7a37e6c39d5b" providerId="AD" clId="Web-{4A6B99BC-4437-2C96-1953-AC30156BC5E3}" dt="2024-02-16T23:50:33.767" v="215"/>
          <ac:picMkLst>
            <pc:docMk/>
            <pc:sldMk cId="1914631794" sldId="866"/>
            <ac:picMk id="12" creationId="{D0F136A7-8CA4-9FA5-BDF5-0EF84222BB2B}"/>
          </ac:picMkLst>
        </pc:picChg>
        <pc:picChg chg="add mod">
          <ac:chgData name="Kiela Karina Moreno" userId="S::mpg7143@ads.northwestern.edu::1e897b35-0dd4-497a-9ab7-7a37e6c39d5b" providerId="AD" clId="Web-{4A6B99BC-4437-2C96-1953-AC30156BC5E3}" dt="2024-02-17T00:47:34.526" v="1160" actId="1076"/>
          <ac:picMkLst>
            <pc:docMk/>
            <pc:sldMk cId="1914631794" sldId="866"/>
            <ac:picMk id="15" creationId="{B23BFA5C-0258-C957-51A9-CB3D308C6E44}"/>
          </ac:picMkLst>
        </pc:picChg>
        <pc:picChg chg="add del mod">
          <ac:chgData name="Kiela Karina Moreno" userId="S::mpg7143@ads.northwestern.edu::1e897b35-0dd4-497a-9ab7-7a37e6c39d5b" providerId="AD" clId="Web-{4A6B99BC-4437-2C96-1953-AC30156BC5E3}" dt="2024-02-17T00:43:05.593" v="714"/>
          <ac:picMkLst>
            <pc:docMk/>
            <pc:sldMk cId="1914631794" sldId="866"/>
            <ac:picMk id="16" creationId="{4F4FEFCC-7786-21A0-CED6-695D996269E0}"/>
          </ac:picMkLst>
        </pc:picChg>
        <pc:picChg chg="add mod ord modCrop">
          <ac:chgData name="Kiela Karina Moreno" userId="S::mpg7143@ads.northwestern.edu::1e897b35-0dd4-497a-9ab7-7a37e6c39d5b" providerId="AD" clId="Web-{4A6B99BC-4437-2C96-1953-AC30156BC5E3}" dt="2024-02-17T00:57:46.657" v="1563" actId="1076"/>
          <ac:picMkLst>
            <pc:docMk/>
            <pc:sldMk cId="1914631794" sldId="866"/>
            <ac:picMk id="19" creationId="{DCCE68AF-BF78-FB7B-0A00-1E024D3CC008}"/>
          </ac:picMkLst>
        </pc:picChg>
      </pc:sldChg>
      <pc:sldChg chg="addSp delSp modSp modNotes">
        <pc:chgData name="Kiela Karina Moreno" userId="S::mpg7143@ads.northwestern.edu::1e897b35-0dd4-497a-9ab7-7a37e6c39d5b" providerId="AD" clId="Web-{4A6B99BC-4437-2C96-1953-AC30156BC5E3}" dt="2024-02-17T01:39:50.640" v="1796" actId="1076"/>
        <pc:sldMkLst>
          <pc:docMk/>
          <pc:sldMk cId="1548499057" sldId="867"/>
        </pc:sldMkLst>
        <pc:spChg chg="mod">
          <ac:chgData name="Kiela Karina Moreno" userId="S::mpg7143@ads.northwestern.edu::1e897b35-0dd4-497a-9ab7-7a37e6c39d5b" providerId="AD" clId="Web-{4A6B99BC-4437-2C96-1953-AC30156BC5E3}" dt="2024-02-17T01:38:44.512" v="1754" actId="1076"/>
          <ac:spMkLst>
            <pc:docMk/>
            <pc:sldMk cId="1548499057" sldId="867"/>
            <ac:spMk id="3" creationId="{477DBB18-4ABA-5958-7B3D-1A4CBBA0F490}"/>
          </ac:spMkLst>
        </pc:spChg>
        <pc:spChg chg="del mod">
          <ac:chgData name="Kiela Karina Moreno" userId="S::mpg7143@ads.northwestern.edu::1e897b35-0dd4-497a-9ab7-7a37e6c39d5b" providerId="AD" clId="Web-{4A6B99BC-4437-2C96-1953-AC30156BC5E3}" dt="2024-02-17T00:33:54.513" v="621"/>
          <ac:spMkLst>
            <pc:docMk/>
            <pc:sldMk cId="1548499057" sldId="867"/>
            <ac:spMk id="4" creationId="{07482ACE-FF81-DCEB-B9A3-3AF8C8943F69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1:39:50.640" v="1796" actId="1076"/>
          <ac:spMkLst>
            <pc:docMk/>
            <pc:sldMk cId="1548499057" sldId="867"/>
            <ac:spMk id="4" creationId="{25B7C5A4-5F39-10B2-DA70-70D2612C230B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0:33:16.887" v="617" actId="1076"/>
          <ac:spMkLst>
            <pc:docMk/>
            <pc:sldMk cId="1548499057" sldId="867"/>
            <ac:spMk id="5" creationId="{2D4FF9EE-CA60-EF60-2539-95209B37945E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1:38:47.966" v="1755" actId="1076"/>
          <ac:spMkLst>
            <pc:docMk/>
            <pc:sldMk cId="1548499057" sldId="867"/>
            <ac:spMk id="7" creationId="{7C5994FE-ED51-DDC2-A1E8-43D1A63531A2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7T00:33:32.747" v="619"/>
          <ac:picMkLst>
            <pc:docMk/>
            <pc:sldMk cId="1548499057" sldId="867"/>
            <ac:picMk id="2" creationId="{277BD649-2E72-AAFF-96B9-CACA5E75B3B5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33:36.231" v="620"/>
          <ac:picMkLst>
            <pc:docMk/>
            <pc:sldMk cId="1548499057" sldId="867"/>
            <ac:picMk id="6" creationId="{793CFA8E-DC2E-893A-6F99-216BEEE5FBE5}"/>
          </ac:picMkLst>
        </pc:picChg>
        <pc:picChg chg="del">
          <ac:chgData name="Kiela Karina Moreno" userId="S::mpg7143@ads.northwestern.edu::1e897b35-0dd4-497a-9ab7-7a37e6c39d5b" providerId="AD" clId="Web-{4A6B99BC-4437-2C96-1953-AC30156BC5E3}" dt="2024-02-16T23:38:39.427" v="124"/>
          <ac:picMkLst>
            <pc:docMk/>
            <pc:sldMk cId="1548499057" sldId="867"/>
            <ac:picMk id="8" creationId="{209BF596-39D0-D813-95BB-807C6AD4D0C4}"/>
          </ac:picMkLst>
        </pc:picChg>
        <pc:picChg chg="add mod">
          <ac:chgData name="Kiela Karina Moreno" userId="S::mpg7143@ads.northwestern.edu::1e897b35-0dd4-497a-9ab7-7a37e6c39d5b" providerId="AD" clId="Web-{4A6B99BC-4437-2C96-1953-AC30156BC5E3}" dt="2024-02-17T00:33:02.777" v="612" actId="1076"/>
          <ac:picMkLst>
            <pc:docMk/>
            <pc:sldMk cId="1548499057" sldId="867"/>
            <ac:picMk id="9" creationId="{BAB16C74-0E9F-0437-85A6-436F8B49035F}"/>
          </ac:picMkLst>
        </pc:picChg>
        <pc:picChg chg="add mod">
          <ac:chgData name="Kiela Karina Moreno" userId="S::mpg7143@ads.northwestern.edu::1e897b35-0dd4-497a-9ab7-7a37e6c39d5b" providerId="AD" clId="Web-{4A6B99BC-4437-2C96-1953-AC30156BC5E3}" dt="2024-02-17T00:33:23.387" v="618" actId="1076"/>
          <ac:picMkLst>
            <pc:docMk/>
            <pc:sldMk cId="1548499057" sldId="867"/>
            <ac:picMk id="10" creationId="{0267A147-F504-7FEC-7610-77FBB78B333B}"/>
          </ac:picMkLst>
        </pc:picChg>
      </pc:sldChg>
      <pc:sldChg chg="addSp delSp modSp">
        <pc:chgData name="Kiela Karina Moreno" userId="S::mpg7143@ads.northwestern.edu::1e897b35-0dd4-497a-9ab7-7a37e6c39d5b" providerId="AD" clId="Web-{4A6B99BC-4437-2C96-1953-AC30156BC5E3}" dt="2024-02-17T03:21:51.303" v="1939" actId="20577"/>
        <pc:sldMkLst>
          <pc:docMk/>
          <pc:sldMk cId="927158119" sldId="868"/>
        </pc:sldMkLst>
        <pc:spChg chg="del mod">
          <ac:chgData name="Kiela Karina Moreno" userId="S::mpg7143@ads.northwestern.edu::1e897b35-0dd4-497a-9ab7-7a37e6c39d5b" providerId="AD" clId="Web-{4A6B99BC-4437-2C96-1953-AC30156BC5E3}" dt="2024-02-17T00:02:44.869" v="373"/>
          <ac:spMkLst>
            <pc:docMk/>
            <pc:sldMk cId="927158119" sldId="868"/>
            <ac:spMk id="2" creationId="{740580F6-8254-3A9A-13D0-E1CFC13D6836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1:01:18.602" v="1599" actId="1076"/>
          <ac:spMkLst>
            <pc:docMk/>
            <pc:sldMk cId="927158119" sldId="868"/>
            <ac:spMk id="4" creationId="{68271F26-733D-C0DE-C532-93573E9AF3BB}"/>
          </ac:spMkLst>
        </pc:spChg>
        <pc:spChg chg="del">
          <ac:chgData name="Kiela Karina Moreno" userId="S::mpg7143@ads.northwestern.edu::1e897b35-0dd4-497a-9ab7-7a37e6c39d5b" providerId="AD" clId="Web-{4A6B99BC-4437-2C96-1953-AC30156BC5E3}" dt="2024-02-16T23:56:12.481" v="259"/>
          <ac:spMkLst>
            <pc:docMk/>
            <pc:sldMk cId="927158119" sldId="868"/>
            <ac:spMk id="6" creationId="{FBDE5B1C-7856-EC3C-F8AA-A500DCDB2145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1:01:25.055" v="1601" actId="1076"/>
          <ac:spMkLst>
            <pc:docMk/>
            <pc:sldMk cId="927158119" sldId="868"/>
            <ac:spMk id="7" creationId="{BF44033D-ACF7-8562-F830-AB48D630D668}"/>
          </ac:spMkLst>
        </pc:spChg>
        <pc:spChg chg="del">
          <ac:chgData name="Kiela Karina Moreno" userId="S::mpg7143@ads.northwestern.edu::1e897b35-0dd4-497a-9ab7-7a37e6c39d5b" providerId="AD" clId="Web-{4A6B99BC-4437-2C96-1953-AC30156BC5E3}" dt="2024-02-17T00:05:37.296" v="424"/>
          <ac:spMkLst>
            <pc:docMk/>
            <pc:sldMk cId="927158119" sldId="868"/>
            <ac:spMk id="8" creationId="{7AC0CF88-40D8-2382-5673-312DE33B2637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0:03:41.964" v="390" actId="20577"/>
          <ac:spMkLst>
            <pc:docMk/>
            <pc:sldMk cId="927158119" sldId="868"/>
            <ac:spMk id="11" creationId="{9F9FF554-DE24-E3F9-4A31-4BD1A14B5871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6T23:56:57.170" v="276" actId="1076"/>
          <ac:spMkLst>
            <pc:docMk/>
            <pc:sldMk cId="927158119" sldId="868"/>
            <ac:spMk id="12" creationId="{D53DF2AA-37C4-ABC0-4B24-F43B686F0698}"/>
          </ac:spMkLst>
        </pc:spChg>
        <pc:spChg chg="add del mod">
          <ac:chgData name="Kiela Karina Moreno" userId="S::mpg7143@ads.northwestern.edu::1e897b35-0dd4-497a-9ab7-7a37e6c39d5b" providerId="AD" clId="Web-{4A6B99BC-4437-2C96-1953-AC30156BC5E3}" dt="2024-02-16T23:59:34.909" v="301"/>
          <ac:spMkLst>
            <pc:docMk/>
            <pc:sldMk cId="927158119" sldId="868"/>
            <ac:spMk id="16" creationId="{C8EBD396-FF71-7043-110E-25334EBBEFA9}"/>
          </ac:spMkLst>
        </pc:spChg>
        <pc:spChg chg="add del mod">
          <ac:chgData name="Kiela Karina Moreno" userId="S::mpg7143@ads.northwestern.edu::1e897b35-0dd4-497a-9ab7-7a37e6c39d5b" providerId="AD" clId="Web-{4A6B99BC-4437-2C96-1953-AC30156BC5E3}" dt="2024-02-17T00:08:23.052" v="442"/>
          <ac:spMkLst>
            <pc:docMk/>
            <pc:sldMk cId="927158119" sldId="868"/>
            <ac:spMk id="17" creationId="{20336438-425B-E885-9BA1-65246F1D9661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3:21:51.303" v="1939" actId="20577"/>
          <ac:spMkLst>
            <pc:docMk/>
            <pc:sldMk cId="927158119" sldId="868"/>
            <ac:spMk id="19" creationId="{67069FED-C0E1-E35D-880F-D0DB6EF5B8B3}"/>
          </ac:spMkLst>
        </pc:spChg>
        <pc:spChg chg="add del mod">
          <ac:chgData name="Kiela Karina Moreno" userId="S::mpg7143@ads.northwestern.edu::1e897b35-0dd4-497a-9ab7-7a37e6c39d5b" providerId="AD" clId="Web-{4A6B99BC-4437-2C96-1953-AC30156BC5E3}" dt="2024-02-17T00:05:35.046" v="423"/>
          <ac:spMkLst>
            <pc:docMk/>
            <pc:sldMk cId="927158119" sldId="868"/>
            <ac:spMk id="22" creationId="{1C2BC46B-88C3-80A2-3125-22949CFB6DF1}"/>
          </ac:spMkLst>
        </pc:spChg>
        <pc:spChg chg="add mod ord">
          <ac:chgData name="Kiela Karina Moreno" userId="S::mpg7143@ads.northwestern.edu::1e897b35-0dd4-497a-9ab7-7a37e6c39d5b" providerId="AD" clId="Web-{4A6B99BC-4437-2C96-1953-AC30156BC5E3}" dt="2024-02-17T00:06:49.720" v="435"/>
          <ac:spMkLst>
            <pc:docMk/>
            <pc:sldMk cId="927158119" sldId="868"/>
            <ac:spMk id="23" creationId="{D2308F75-5753-1F73-546E-ADACED0B5C59}"/>
          </ac:spMkLst>
        </pc:spChg>
        <pc:spChg chg="add del">
          <ac:chgData name="Kiela Karina Moreno" userId="S::mpg7143@ads.northwestern.edu::1e897b35-0dd4-497a-9ab7-7a37e6c39d5b" providerId="AD" clId="Web-{4A6B99BC-4437-2C96-1953-AC30156BC5E3}" dt="2024-02-17T00:07:24.893" v="437"/>
          <ac:spMkLst>
            <pc:docMk/>
            <pc:sldMk cId="927158119" sldId="868"/>
            <ac:spMk id="24" creationId="{2E4B8856-BA0A-9C5A-63AB-7DF19E86B678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7T00:03:50.683" v="392" actId="1076"/>
          <ac:picMkLst>
            <pc:docMk/>
            <pc:sldMk cId="927158119" sldId="868"/>
            <ac:picMk id="3" creationId="{85868828-9DD1-9466-3A3B-3C204760043D}"/>
          </ac:picMkLst>
        </pc:picChg>
        <pc:picChg chg="mod ord">
          <ac:chgData name="Kiela Karina Moreno" userId="S::mpg7143@ads.northwestern.edu::1e897b35-0dd4-497a-9ab7-7a37e6c39d5b" providerId="AD" clId="Web-{4A6B99BC-4437-2C96-1953-AC30156BC5E3}" dt="2024-02-17T01:01:27.836" v="1602" actId="1076"/>
          <ac:picMkLst>
            <pc:docMk/>
            <pc:sldMk cId="927158119" sldId="868"/>
            <ac:picMk id="5" creationId="{F63664A2-141E-CC71-2E7C-CDE9A203280A}"/>
          </ac:picMkLst>
        </pc:picChg>
        <pc:picChg chg="del mod">
          <ac:chgData name="Kiela Karina Moreno" userId="S::mpg7143@ads.northwestern.edu::1e897b35-0dd4-497a-9ab7-7a37e6c39d5b" providerId="AD" clId="Web-{4A6B99BC-4437-2C96-1953-AC30156BC5E3}" dt="2024-02-17T00:05:31.671" v="422"/>
          <ac:picMkLst>
            <pc:docMk/>
            <pc:sldMk cId="927158119" sldId="868"/>
            <ac:picMk id="9" creationId="{72874926-BC85-B71F-75BA-248AA4B55151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01:11.475" v="345"/>
          <ac:picMkLst>
            <pc:docMk/>
            <pc:sldMk cId="927158119" sldId="868"/>
            <ac:picMk id="13" creationId="{22D2EA1F-9C0D-C8AA-9BF8-A939CB5BD27C}"/>
          </ac:picMkLst>
        </pc:picChg>
        <pc:picChg chg="add mod">
          <ac:chgData name="Kiela Karina Moreno" userId="S::mpg7143@ads.northwestern.edu::1e897b35-0dd4-497a-9ab7-7a37e6c39d5b" providerId="AD" clId="Web-{4A6B99BC-4437-2C96-1953-AC30156BC5E3}" dt="2024-02-16T23:57:26.780" v="279" actId="1076"/>
          <ac:picMkLst>
            <pc:docMk/>
            <pc:sldMk cId="927158119" sldId="868"/>
            <ac:picMk id="15" creationId="{4210258D-9010-CEAC-F265-BD6430F04106}"/>
          </ac:picMkLst>
        </pc:picChg>
      </pc:sldChg>
      <pc:sldChg chg="modSp ord">
        <pc:chgData name="Kiela Karina Moreno" userId="S::mpg7143@ads.northwestern.edu::1e897b35-0dd4-497a-9ab7-7a37e6c39d5b" providerId="AD" clId="Web-{4A6B99BC-4437-2C96-1953-AC30156BC5E3}" dt="2024-02-17T00:38:06.740" v="654"/>
        <pc:sldMkLst>
          <pc:docMk/>
          <pc:sldMk cId="2762163785" sldId="871"/>
        </pc:sldMkLst>
        <pc:picChg chg="mod">
          <ac:chgData name="Kiela Karina Moreno" userId="S::mpg7143@ads.northwestern.edu::1e897b35-0dd4-497a-9ab7-7a37e6c39d5b" providerId="AD" clId="Web-{4A6B99BC-4437-2C96-1953-AC30156BC5E3}" dt="2024-02-17T00:38:04.115" v="653"/>
          <ac:picMkLst>
            <pc:docMk/>
            <pc:sldMk cId="2762163785" sldId="871"/>
            <ac:picMk id="2" creationId="{36962373-8B36-3EA1-50D9-A7C5C9660093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38:06.740" v="654"/>
          <ac:picMkLst>
            <pc:docMk/>
            <pc:sldMk cId="2762163785" sldId="871"/>
            <ac:picMk id="3" creationId="{C215F430-4B13-A518-9DD7-748E34F46D7A}"/>
          </ac:picMkLst>
        </pc:picChg>
      </pc:sldChg>
      <pc:sldChg chg="modSp ord modNotes">
        <pc:chgData name="Kiela Karina Moreno" userId="S::mpg7143@ads.northwestern.edu::1e897b35-0dd4-497a-9ab7-7a37e6c39d5b" providerId="AD" clId="Web-{4A6B99BC-4437-2C96-1953-AC30156BC5E3}" dt="2024-02-17T00:40:07.275" v="691"/>
        <pc:sldMkLst>
          <pc:docMk/>
          <pc:sldMk cId="4226091729" sldId="872"/>
        </pc:sldMkLst>
        <pc:picChg chg="mod">
          <ac:chgData name="Kiela Karina Moreno" userId="S::mpg7143@ads.northwestern.edu::1e897b35-0dd4-497a-9ab7-7a37e6c39d5b" providerId="AD" clId="Web-{4A6B99BC-4437-2C96-1953-AC30156BC5E3}" dt="2024-02-17T00:40:07.275" v="691"/>
          <ac:picMkLst>
            <pc:docMk/>
            <pc:sldMk cId="4226091729" sldId="872"/>
            <ac:picMk id="3" creationId="{C215F430-4B13-A518-9DD7-748E34F46D7A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40:02.463" v="690"/>
          <ac:picMkLst>
            <pc:docMk/>
            <pc:sldMk cId="4226091729" sldId="872"/>
            <ac:picMk id="7" creationId="{2CEF1256-C229-3985-E8B2-1D816865845D}"/>
          </ac:picMkLst>
        </pc:picChg>
      </pc:sldChg>
      <pc:sldChg chg="modSp">
        <pc:chgData name="Kiela Karina Moreno" userId="S::mpg7143@ads.northwestern.edu::1e897b35-0dd4-497a-9ab7-7a37e6c39d5b" providerId="AD" clId="Web-{4A6B99BC-4437-2C96-1953-AC30156BC5E3}" dt="2024-02-17T01:05:57.501" v="1636" actId="20577"/>
        <pc:sldMkLst>
          <pc:docMk/>
          <pc:sldMk cId="3352784023" sldId="874"/>
        </pc:sldMkLst>
        <pc:spChg chg="mod">
          <ac:chgData name="Kiela Karina Moreno" userId="S::mpg7143@ads.northwestern.edu::1e897b35-0dd4-497a-9ab7-7a37e6c39d5b" providerId="AD" clId="Web-{4A6B99BC-4437-2C96-1953-AC30156BC5E3}" dt="2024-02-17T01:05:57.501" v="1636" actId="20577"/>
          <ac:spMkLst>
            <pc:docMk/>
            <pc:sldMk cId="3352784023" sldId="874"/>
            <ac:spMk id="2" creationId="{4750E6DC-BCB6-7021-74E4-A553695C7B5E}"/>
          </ac:spMkLst>
        </pc:spChg>
      </pc:sldChg>
      <pc:sldChg chg="addSp delSp modSp">
        <pc:chgData name="Kiela Karina Moreno" userId="S::mpg7143@ads.northwestern.edu::1e897b35-0dd4-497a-9ab7-7a37e6c39d5b" providerId="AD" clId="Web-{4A6B99BC-4437-2C96-1953-AC30156BC5E3}" dt="2024-02-17T00:36:01.908" v="642" actId="1076"/>
        <pc:sldMkLst>
          <pc:docMk/>
          <pc:sldMk cId="1858777902" sldId="877"/>
        </pc:sldMkLst>
        <pc:spChg chg="mod">
          <ac:chgData name="Kiela Karina Moreno" userId="S::mpg7143@ads.northwestern.edu::1e897b35-0dd4-497a-9ab7-7a37e6c39d5b" providerId="AD" clId="Web-{4A6B99BC-4437-2C96-1953-AC30156BC5E3}" dt="2024-02-16T23:39:17.804" v="132"/>
          <ac:spMkLst>
            <pc:docMk/>
            <pc:sldMk cId="1858777902" sldId="877"/>
            <ac:spMk id="2" creationId="{88C03B97-F91F-5C26-7B79-00E0DB69BAF4}"/>
          </ac:spMkLst>
        </pc:spChg>
        <pc:spChg chg="del">
          <ac:chgData name="Kiela Karina Moreno" userId="S::mpg7143@ads.northwestern.edu::1e897b35-0dd4-497a-9ab7-7a37e6c39d5b" providerId="AD" clId="Web-{4A6B99BC-4437-2C96-1953-AC30156BC5E3}" dt="2024-02-17T00:35:54.736" v="640"/>
          <ac:spMkLst>
            <pc:docMk/>
            <pc:sldMk cId="1858777902" sldId="877"/>
            <ac:spMk id="5" creationId="{995BA647-895D-F4BB-5F02-92826030E002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0:36:01.908" v="642" actId="1076"/>
          <ac:spMkLst>
            <pc:docMk/>
            <pc:sldMk cId="1858777902" sldId="877"/>
            <ac:spMk id="11" creationId="{5D7B8496-8FB8-2E3B-1595-2A1DED4530BB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6T23:39:08.460" v="131"/>
          <ac:picMkLst>
            <pc:docMk/>
            <pc:sldMk cId="1858777902" sldId="877"/>
            <ac:picMk id="9" creationId="{BD6A65AD-79B7-DF14-89DD-8B8084FD7922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30:17.756" v="557" actId="1076"/>
          <ac:picMkLst>
            <pc:docMk/>
            <pc:sldMk cId="1858777902" sldId="877"/>
            <ac:picMk id="10" creationId="{1DE6BAE1-FF45-56F7-E875-6BC199F9E7BF}"/>
          </ac:picMkLst>
        </pc:picChg>
      </pc:sldChg>
      <pc:sldChg chg="addSp delSp modSp">
        <pc:chgData name="Kiela Karina Moreno" userId="S::mpg7143@ads.northwestern.edu::1e897b35-0dd4-497a-9ab7-7a37e6c39d5b" providerId="AD" clId="Web-{4A6B99BC-4437-2C96-1953-AC30156BC5E3}" dt="2024-02-17T00:11:15.198" v="484" actId="1076"/>
        <pc:sldMkLst>
          <pc:docMk/>
          <pc:sldMk cId="3394670119" sldId="878"/>
        </pc:sldMkLst>
        <pc:spChg chg="del">
          <ac:chgData name="Kiela Karina Moreno" userId="S::mpg7143@ads.northwestern.edu::1e897b35-0dd4-497a-9ab7-7a37e6c39d5b" providerId="AD" clId="Web-{4A6B99BC-4437-2C96-1953-AC30156BC5E3}" dt="2024-02-17T00:10:55.494" v="468"/>
          <ac:spMkLst>
            <pc:docMk/>
            <pc:sldMk cId="3394670119" sldId="878"/>
            <ac:spMk id="2" creationId="{7A9791C4-9B3C-9538-F299-A006E1E9E4CE}"/>
          </ac:spMkLst>
        </pc:spChg>
        <pc:spChg chg="add del mod">
          <ac:chgData name="Kiela Karina Moreno" userId="S::mpg7143@ads.northwestern.edu::1e897b35-0dd4-497a-9ab7-7a37e6c39d5b" providerId="AD" clId="Web-{4A6B99BC-4437-2C96-1953-AC30156BC5E3}" dt="2024-02-17T00:11:02.166" v="471"/>
          <ac:spMkLst>
            <pc:docMk/>
            <pc:sldMk cId="3394670119" sldId="878"/>
            <ac:spMk id="4" creationId="{9E3507DE-1AA8-61F3-90C8-25D1D81803D3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0:11:15.198" v="484" actId="1076"/>
          <ac:spMkLst>
            <pc:docMk/>
            <pc:sldMk cId="3394670119" sldId="878"/>
            <ac:spMk id="6" creationId="{351CE6D6-0035-EE5C-370A-990D70309869}"/>
          </ac:spMkLst>
        </pc:spChg>
      </pc:sldChg>
      <pc:sldChg chg="addSp delSp modSp">
        <pc:chgData name="Kiela Karina Moreno" userId="S::mpg7143@ads.northwestern.edu::1e897b35-0dd4-497a-9ab7-7a37e6c39d5b" providerId="AD" clId="Web-{4A6B99BC-4437-2C96-1953-AC30156BC5E3}" dt="2024-02-16T23:49:04.623" v="198"/>
        <pc:sldMkLst>
          <pc:docMk/>
          <pc:sldMk cId="2919989900" sldId="881"/>
        </pc:sldMkLst>
        <pc:spChg chg="add del mod">
          <ac:chgData name="Kiela Karina Moreno" userId="S::mpg7143@ads.northwestern.edu::1e897b35-0dd4-497a-9ab7-7a37e6c39d5b" providerId="AD" clId="Web-{4A6B99BC-4437-2C96-1953-AC30156BC5E3}" dt="2024-02-16T23:49:04.623" v="198"/>
          <ac:spMkLst>
            <pc:docMk/>
            <pc:sldMk cId="2919989900" sldId="881"/>
            <ac:spMk id="2" creationId="{529BCE8A-E863-EED1-2627-5BCC2DD8B6BE}"/>
          </ac:spMkLst>
        </pc:spChg>
      </pc:sldChg>
      <pc:sldChg chg="modSp">
        <pc:chgData name="Kiela Karina Moreno" userId="S::mpg7143@ads.northwestern.edu::1e897b35-0dd4-497a-9ab7-7a37e6c39d5b" providerId="AD" clId="Web-{4A6B99BC-4437-2C96-1953-AC30156BC5E3}" dt="2024-02-17T00:36:22.033" v="643"/>
        <pc:sldMkLst>
          <pc:docMk/>
          <pc:sldMk cId="579664875" sldId="882"/>
        </pc:sldMkLst>
        <pc:spChg chg="mod">
          <ac:chgData name="Kiela Karina Moreno" userId="S::mpg7143@ads.northwestern.edu::1e897b35-0dd4-497a-9ab7-7a37e6c39d5b" providerId="AD" clId="Web-{4A6B99BC-4437-2C96-1953-AC30156BC5E3}" dt="2024-02-16T23:56:24.341" v="260" actId="14100"/>
          <ac:spMkLst>
            <pc:docMk/>
            <pc:sldMk cId="579664875" sldId="882"/>
            <ac:spMk id="2" creationId="{3DDA825D-4829-111F-EAFA-DD3F2F2D6B3C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7T00:36:22.033" v="643"/>
          <ac:picMkLst>
            <pc:docMk/>
            <pc:sldMk cId="579664875" sldId="882"/>
            <ac:picMk id="7" creationId="{5DF407C2-305B-55CA-1BFB-EB360EC1C7A9}"/>
          </ac:picMkLst>
        </pc:picChg>
      </pc:sldChg>
      <pc:sldChg chg="addSp delSp modSp modNotes">
        <pc:chgData name="Kiela Karina Moreno" userId="S::mpg7143@ads.northwestern.edu::1e897b35-0dd4-497a-9ab7-7a37e6c39d5b" providerId="AD" clId="Web-{4A6B99BC-4437-2C96-1953-AC30156BC5E3}" dt="2024-02-17T00:25:32.575" v="513" actId="14100"/>
        <pc:sldMkLst>
          <pc:docMk/>
          <pc:sldMk cId="1134557211" sldId="885"/>
        </pc:sldMkLst>
        <pc:spChg chg="mod">
          <ac:chgData name="Kiela Karina Moreno" userId="S::mpg7143@ads.northwestern.edu::1e897b35-0dd4-497a-9ab7-7a37e6c39d5b" providerId="AD" clId="Web-{4A6B99BC-4437-2C96-1953-AC30156BC5E3}" dt="2024-02-16T23:31:10.850" v="86" actId="20577"/>
          <ac:spMkLst>
            <pc:docMk/>
            <pc:sldMk cId="1134557211" sldId="885"/>
            <ac:spMk id="5" creationId="{58E671B3-515D-0AE8-68F5-1AF9BA1A81DE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6T23:30:29.489" v="76" actId="14100"/>
          <ac:picMkLst>
            <pc:docMk/>
            <pc:sldMk cId="1134557211" sldId="885"/>
            <ac:picMk id="2" creationId="{FB919D06-B29E-630F-A603-3C45FB8DF3A3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25:32.575" v="513" actId="14100"/>
          <ac:picMkLst>
            <pc:docMk/>
            <pc:sldMk cId="1134557211" sldId="885"/>
            <ac:picMk id="6" creationId="{C8C0844A-5A99-4779-A0E7-14F1C499F481}"/>
          </ac:picMkLst>
        </pc:picChg>
        <pc:picChg chg="add del mod">
          <ac:chgData name="Kiela Karina Moreno" userId="S::mpg7143@ads.northwestern.edu::1e897b35-0dd4-497a-9ab7-7a37e6c39d5b" providerId="AD" clId="Web-{4A6B99BC-4437-2C96-1953-AC30156BC5E3}" dt="2024-02-16T23:29:17.315" v="74" actId="1076"/>
          <ac:picMkLst>
            <pc:docMk/>
            <pc:sldMk cId="1134557211" sldId="885"/>
            <ac:picMk id="9" creationId="{15236187-932A-891E-B925-E2F185B83582}"/>
          </ac:picMkLst>
        </pc:picChg>
      </pc:sldChg>
      <pc:sldChg chg="addSp delSp modSp mod setBg">
        <pc:chgData name="Kiela Karina Moreno" userId="S::mpg7143@ads.northwestern.edu::1e897b35-0dd4-497a-9ab7-7a37e6c39d5b" providerId="AD" clId="Web-{4A6B99BC-4437-2C96-1953-AC30156BC5E3}" dt="2024-02-17T02:12:18.694" v="1811" actId="20577"/>
        <pc:sldMkLst>
          <pc:docMk/>
          <pc:sldMk cId="1391034132" sldId="886"/>
        </pc:sldMkLst>
        <pc:spChg chg="del">
          <ac:chgData name="Kiela Karina Moreno" userId="S::mpg7143@ads.northwestern.edu::1e897b35-0dd4-497a-9ab7-7a37e6c39d5b" providerId="AD" clId="Web-{4A6B99BC-4437-2C96-1953-AC30156BC5E3}" dt="2024-02-17T01:04:33.045" v="1617"/>
          <ac:spMkLst>
            <pc:docMk/>
            <pc:sldMk cId="1391034132" sldId="886"/>
            <ac:spMk id="2" creationId="{BCC92FD2-60D2-B5F6-51E7-C30B5E2295B3}"/>
          </ac:spMkLst>
        </pc:spChg>
        <pc:spChg chg="del mod">
          <ac:chgData name="Kiela Karina Moreno" userId="S::mpg7143@ads.northwestern.edu::1e897b35-0dd4-497a-9ab7-7a37e6c39d5b" providerId="AD" clId="Web-{4A6B99BC-4437-2C96-1953-AC30156BC5E3}" dt="2024-02-17T01:05:01.531" v="1632"/>
          <ac:spMkLst>
            <pc:docMk/>
            <pc:sldMk cId="1391034132" sldId="886"/>
            <ac:spMk id="3" creationId="{FDAC4B6B-20DD-DDFF-7EE9-92C29E96B4F5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2:12:18.694" v="1811" actId="20577"/>
          <ac:spMkLst>
            <pc:docMk/>
            <pc:sldMk cId="1391034132" sldId="886"/>
            <ac:spMk id="6" creationId="{5EC312F1-9F6E-D473-207C-7D9046AEEDE1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2:07:15.372" v="1800" actId="1076"/>
          <ac:spMkLst>
            <pc:docMk/>
            <pc:sldMk cId="1391034132" sldId="886"/>
            <ac:spMk id="7" creationId="{E47F76B0-6B6E-EEFB-EB7C-CF553EF99CB9}"/>
          </ac:spMkLst>
        </pc:spChg>
      </pc:sldChg>
      <pc:sldChg chg="addSp delSp modSp ord">
        <pc:chgData name="Kiela Karina Moreno" userId="S::mpg7143@ads.northwestern.edu::1e897b35-0dd4-497a-9ab7-7a37e6c39d5b" providerId="AD" clId="Web-{4A6B99BC-4437-2C96-1953-AC30156BC5E3}" dt="2024-02-17T01:37:27.088" v="1750"/>
        <pc:sldMkLst>
          <pc:docMk/>
          <pc:sldMk cId="3868503959" sldId="887"/>
        </pc:sldMkLst>
        <pc:spChg chg="del mod">
          <ac:chgData name="Kiela Karina Moreno" userId="S::mpg7143@ads.northwestern.edu::1e897b35-0dd4-497a-9ab7-7a37e6c39d5b" providerId="AD" clId="Web-{4A6B99BC-4437-2C96-1953-AC30156BC5E3}" dt="2024-02-16T23:47:42.933" v="179"/>
          <ac:spMkLst>
            <pc:docMk/>
            <pc:sldMk cId="3868503959" sldId="887"/>
            <ac:spMk id="2" creationId="{C8F66906-FC51-AFF5-3F51-3C7A2531B91A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6T23:48:11.949" v="195"/>
          <ac:spMkLst>
            <pc:docMk/>
            <pc:sldMk cId="3868503959" sldId="887"/>
            <ac:spMk id="5" creationId="{274D469D-2A88-662E-DAE6-2B5B91F92284}"/>
          </ac:spMkLst>
        </pc:spChg>
      </pc:sldChg>
      <pc:sldChg chg="modSp">
        <pc:chgData name="Kiela Karina Moreno" userId="S::mpg7143@ads.northwestern.edu::1e897b35-0dd4-497a-9ab7-7a37e6c39d5b" providerId="AD" clId="Web-{4A6B99BC-4437-2C96-1953-AC30156BC5E3}" dt="2024-02-17T03:23:00.805" v="1942" actId="20577"/>
        <pc:sldMkLst>
          <pc:docMk/>
          <pc:sldMk cId="2806931985" sldId="888"/>
        </pc:sldMkLst>
        <pc:spChg chg="mod">
          <ac:chgData name="Kiela Karina Moreno" userId="S::mpg7143@ads.northwestern.edu::1e897b35-0dd4-497a-9ab7-7a37e6c39d5b" providerId="AD" clId="Web-{4A6B99BC-4437-2C96-1953-AC30156BC5E3}" dt="2024-02-17T03:23:00.805" v="1942" actId="20577"/>
          <ac:spMkLst>
            <pc:docMk/>
            <pc:sldMk cId="2806931985" sldId="888"/>
            <ac:spMk id="2" creationId="{F4FFC4FE-4460-3B96-3FAB-78D11A22DF5E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7T00:12:37.497" v="497"/>
          <ac:picMkLst>
            <pc:docMk/>
            <pc:sldMk cId="2806931985" sldId="888"/>
            <ac:picMk id="38" creationId="{7280F87C-D391-AE08-9C9D-1DEC3C9E3727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12:41.888" v="498"/>
          <ac:picMkLst>
            <pc:docMk/>
            <pc:sldMk cId="2806931985" sldId="888"/>
            <ac:picMk id="39" creationId="{5C95010D-F147-72CD-70DB-706F39F6FFDD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12:44.013" v="499"/>
          <ac:picMkLst>
            <pc:docMk/>
            <pc:sldMk cId="2806931985" sldId="888"/>
            <ac:picMk id="94" creationId="{F0171824-883A-E897-C316-FF24C292F290}"/>
          </ac:picMkLst>
        </pc:picChg>
        <pc:picChg chg="mod">
          <ac:chgData name="Kiela Karina Moreno" userId="S::mpg7143@ads.northwestern.edu::1e897b35-0dd4-497a-9ab7-7a37e6c39d5b" providerId="AD" clId="Web-{4A6B99BC-4437-2C96-1953-AC30156BC5E3}" dt="2024-02-17T00:12:45.888" v="500"/>
          <ac:picMkLst>
            <pc:docMk/>
            <pc:sldMk cId="2806931985" sldId="888"/>
            <ac:picMk id="95" creationId="{307CCD85-F7F2-75D1-B7CB-F0F348C29BE7}"/>
          </ac:picMkLst>
        </pc:picChg>
      </pc:sldChg>
      <pc:sldChg chg="ord">
        <pc:chgData name="Kiela Karina Moreno" userId="S::mpg7143@ads.northwestern.edu::1e897b35-0dd4-497a-9ab7-7a37e6c39d5b" providerId="AD" clId="Web-{4A6B99BC-4437-2C96-1953-AC30156BC5E3}" dt="2024-02-16T23:21:15.924" v="4"/>
        <pc:sldMkLst>
          <pc:docMk/>
          <pc:sldMk cId="1128616829" sldId="889"/>
        </pc:sldMkLst>
      </pc:sldChg>
      <pc:sldChg chg="addSp modSp ord">
        <pc:chgData name="Kiela Karina Moreno" userId="S::mpg7143@ads.northwestern.edu::1e897b35-0dd4-497a-9ab7-7a37e6c39d5b" providerId="AD" clId="Web-{4A6B99BC-4437-2C96-1953-AC30156BC5E3}" dt="2024-02-17T00:12:55.404" v="503"/>
        <pc:sldMkLst>
          <pc:docMk/>
          <pc:sldMk cId="907610433" sldId="890"/>
        </pc:sldMkLst>
        <pc:spChg chg="mod">
          <ac:chgData name="Kiela Karina Moreno" userId="S::mpg7143@ads.northwestern.edu::1e897b35-0dd4-497a-9ab7-7a37e6c39d5b" providerId="AD" clId="Web-{4A6B99BC-4437-2C96-1953-AC30156BC5E3}" dt="2024-02-16T23:44:44.786" v="156" actId="1076"/>
          <ac:spMkLst>
            <pc:docMk/>
            <pc:sldMk cId="907610433" sldId="890"/>
            <ac:spMk id="2" creationId="{709FE922-B2E3-12F6-553C-6DA9015B5344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6T23:46:02.461" v="167" actId="20577"/>
          <ac:spMkLst>
            <pc:docMk/>
            <pc:sldMk cId="907610433" sldId="890"/>
            <ac:spMk id="3" creationId="{B45290FA-00E0-3681-0C93-59A8F1530EB0}"/>
          </ac:spMkLst>
        </pc:spChg>
        <pc:picChg chg="mod modCrop">
          <ac:chgData name="Kiela Karina Moreno" userId="S::mpg7143@ads.northwestern.edu::1e897b35-0dd4-497a-9ab7-7a37e6c39d5b" providerId="AD" clId="Web-{4A6B99BC-4437-2C96-1953-AC30156BC5E3}" dt="2024-02-16T23:46:32.290" v="173" actId="1076"/>
          <ac:picMkLst>
            <pc:docMk/>
            <pc:sldMk cId="907610433" sldId="890"/>
            <ac:picMk id="7" creationId="{F1B00279-A15D-40E9-6BDC-5C1FA48E8B73}"/>
          </ac:picMkLst>
        </pc:picChg>
        <pc:picChg chg="add mod">
          <ac:chgData name="Kiela Karina Moreno" userId="S::mpg7143@ads.northwestern.edu::1e897b35-0dd4-497a-9ab7-7a37e6c39d5b" providerId="AD" clId="Web-{4A6B99BC-4437-2C96-1953-AC30156BC5E3}" dt="2024-02-17T00:12:55.404" v="503"/>
          <ac:picMkLst>
            <pc:docMk/>
            <pc:sldMk cId="907610433" sldId="890"/>
            <ac:picMk id="8" creationId="{D4F6248D-A01F-5E4C-45E3-17D4770C2EF9}"/>
          </ac:picMkLst>
        </pc:picChg>
      </pc:sldChg>
      <pc:sldChg chg="addSp modSp ord">
        <pc:chgData name="Kiela Karina Moreno" userId="S::mpg7143@ads.northwestern.edu::1e897b35-0dd4-497a-9ab7-7a37e6c39d5b" providerId="AD" clId="Web-{4A6B99BC-4437-2C96-1953-AC30156BC5E3}" dt="2024-02-17T03:12:37.050" v="1815" actId="1076"/>
        <pc:sldMkLst>
          <pc:docMk/>
          <pc:sldMk cId="2146925144" sldId="891"/>
        </pc:sldMkLst>
        <pc:spChg chg="add mod">
          <ac:chgData name="Kiela Karina Moreno" userId="S::mpg7143@ads.northwestern.edu::1e897b35-0dd4-497a-9ab7-7a37e6c39d5b" providerId="AD" clId="Web-{4A6B99BC-4437-2C96-1953-AC30156BC5E3}" dt="2024-02-17T03:12:37.050" v="1815" actId="1076"/>
          <ac:spMkLst>
            <pc:docMk/>
            <pc:sldMk cId="2146925144" sldId="891"/>
            <ac:spMk id="5" creationId="{43E3BE9F-AD4F-A413-FAF6-A3C43A34FFE9}"/>
          </ac:spMkLst>
        </pc:spChg>
        <pc:picChg chg="add mod">
          <ac:chgData name="Kiela Karina Moreno" userId="S::mpg7143@ads.northwestern.edu::1e897b35-0dd4-497a-9ab7-7a37e6c39d5b" providerId="AD" clId="Web-{4A6B99BC-4437-2C96-1953-AC30156BC5E3}" dt="2024-02-17T03:12:32.644" v="1814" actId="1076"/>
          <ac:picMkLst>
            <pc:docMk/>
            <pc:sldMk cId="2146925144" sldId="891"/>
            <ac:picMk id="3" creationId="{40A2486A-A5A7-D8D2-F3E9-73CD3520F423}"/>
          </ac:picMkLst>
        </pc:picChg>
      </pc:sldChg>
      <pc:sldChg chg="addSp delSp modSp add">
        <pc:chgData name="Kiela Karina Moreno" userId="S::mpg7143@ads.northwestern.edu::1e897b35-0dd4-497a-9ab7-7a37e6c39d5b" providerId="AD" clId="Web-{4A6B99BC-4437-2C96-1953-AC30156BC5E3}" dt="2024-02-17T01:06:38.127" v="1639" actId="1076"/>
        <pc:sldMkLst>
          <pc:docMk/>
          <pc:sldMk cId="611378628" sldId="892"/>
        </pc:sldMkLst>
        <pc:spChg chg="del mod">
          <ac:chgData name="Kiela Karina Moreno" userId="S::mpg7143@ads.northwestern.edu::1e897b35-0dd4-497a-9ab7-7a37e6c39d5b" providerId="AD" clId="Web-{4A6B99BC-4437-2C96-1953-AC30156BC5E3}" dt="2024-02-17T00:54:39.964" v="1507"/>
          <ac:spMkLst>
            <pc:docMk/>
            <pc:sldMk cId="611378628" sldId="892"/>
            <ac:spMk id="2" creationId="{811CD273-DEA5-45AF-9D5A-391AF310DE35}"/>
          </ac:spMkLst>
        </pc:spChg>
        <pc:spChg chg="del mod">
          <ac:chgData name="Kiela Karina Moreno" userId="S::mpg7143@ads.northwestern.edu::1e897b35-0dd4-497a-9ab7-7a37e6c39d5b" providerId="AD" clId="Web-{4A6B99BC-4437-2C96-1953-AC30156BC5E3}" dt="2024-02-17T00:52:35.741" v="1470"/>
          <ac:spMkLst>
            <pc:docMk/>
            <pc:sldMk cId="611378628" sldId="892"/>
            <ac:spMk id="3" creationId="{CAED68A6-1B31-73E4-6D22-293A071B4F69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0:53:33.149" v="1484" actId="1076"/>
          <ac:spMkLst>
            <pc:docMk/>
            <pc:sldMk cId="611378628" sldId="892"/>
            <ac:spMk id="4" creationId="{604F9562-47DD-46D2-33E6-22AF95DD8AB7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0:53:28.164" v="1483" actId="1076"/>
          <ac:spMkLst>
            <pc:docMk/>
            <pc:sldMk cId="611378628" sldId="892"/>
            <ac:spMk id="5" creationId="{D85DA53E-FFF7-E00B-4455-F505E0189A23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1:06:38.127" v="1639" actId="1076"/>
          <ac:spMkLst>
            <pc:docMk/>
            <pc:sldMk cId="611378628" sldId="892"/>
            <ac:spMk id="12" creationId="{D407C152-BC6F-8F39-A9E7-B95EA6659D31}"/>
          </ac:spMkLst>
        </pc:spChg>
        <pc:spChg chg="add del mod">
          <ac:chgData name="Kiela Karina Moreno" userId="S::mpg7143@ads.northwestern.edu::1e897b35-0dd4-497a-9ab7-7a37e6c39d5b" providerId="AD" clId="Web-{4A6B99BC-4437-2C96-1953-AC30156BC5E3}" dt="2024-02-17T00:52:42.538" v="1472"/>
          <ac:spMkLst>
            <pc:docMk/>
            <pc:sldMk cId="611378628" sldId="892"/>
            <ac:spMk id="14" creationId="{AE692785-30E4-71AF-DADB-9968D4D3A24E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1:06:24.705" v="1637" actId="1076"/>
          <ac:spMkLst>
            <pc:docMk/>
            <pc:sldMk cId="611378628" sldId="892"/>
            <ac:spMk id="16" creationId="{9EA7D43A-D6C4-1F3D-C666-F35CA15F5AA6}"/>
          </ac:spMkLst>
        </pc:spChg>
        <pc:spChg chg="add del mod">
          <ac:chgData name="Kiela Karina Moreno" userId="S::mpg7143@ads.northwestern.edu::1e897b35-0dd4-497a-9ab7-7a37e6c39d5b" providerId="AD" clId="Web-{4A6B99BC-4437-2C96-1953-AC30156BC5E3}" dt="2024-02-17T00:54:43.198" v="1508"/>
          <ac:spMkLst>
            <pc:docMk/>
            <pc:sldMk cId="611378628" sldId="892"/>
            <ac:spMk id="18" creationId="{6C7227A8-777C-AB10-9699-9BBAF81BB123}"/>
          </ac:spMkLst>
        </pc:spChg>
        <pc:picChg chg="mod">
          <ac:chgData name="Kiela Karina Moreno" userId="S::mpg7143@ads.northwestern.edu::1e897b35-0dd4-497a-9ab7-7a37e6c39d5b" providerId="AD" clId="Web-{4A6B99BC-4437-2C96-1953-AC30156BC5E3}" dt="2024-02-17T00:53:46.743" v="1488" actId="14100"/>
          <ac:picMkLst>
            <pc:docMk/>
            <pc:sldMk cId="611378628" sldId="892"/>
            <ac:picMk id="6" creationId="{3CF6352C-80D4-8411-F069-EF580A297D1C}"/>
          </ac:picMkLst>
        </pc:picChg>
        <pc:picChg chg="add">
          <ac:chgData name="Kiela Karina Moreno" userId="S::mpg7143@ads.northwestern.edu::1e897b35-0dd4-497a-9ab7-7a37e6c39d5b" providerId="AD" clId="Web-{4A6B99BC-4437-2C96-1953-AC30156BC5E3}" dt="2024-02-17T00:48:00.198" v="1161"/>
          <ac:picMkLst>
            <pc:docMk/>
            <pc:sldMk cId="611378628" sldId="892"/>
            <ac:picMk id="8" creationId="{F7C4F860-0D00-1673-705A-2981DACE2ACB}"/>
          </ac:picMkLst>
        </pc:picChg>
        <pc:picChg chg="add mod">
          <ac:chgData name="Kiela Karina Moreno" userId="S::mpg7143@ads.northwestern.edu::1e897b35-0dd4-497a-9ab7-7a37e6c39d5b" providerId="AD" clId="Web-{4A6B99BC-4437-2C96-1953-AC30156BC5E3}" dt="2024-02-17T00:48:32.481" v="1168" actId="1076"/>
          <ac:picMkLst>
            <pc:docMk/>
            <pc:sldMk cId="611378628" sldId="892"/>
            <ac:picMk id="10" creationId="{44EA95A2-7ECD-6DB5-AA1D-0540EF1296E5}"/>
          </ac:picMkLst>
        </pc:picChg>
      </pc:sldChg>
      <pc:sldChg chg="delSp modSp add ord replId addCm">
        <pc:chgData name="Kiela Karina Moreno" userId="S::mpg7143@ads.northwestern.edu::1e897b35-0dd4-497a-9ab7-7a37e6c39d5b" providerId="AD" clId="Web-{4A6B99BC-4437-2C96-1953-AC30156BC5E3}" dt="2024-02-17T00:41:34.591" v="692"/>
        <pc:sldMkLst>
          <pc:docMk/>
          <pc:sldMk cId="669186710" sldId="893"/>
        </pc:sldMkLst>
        <pc:spChg chg="mod">
          <ac:chgData name="Kiela Karina Moreno" userId="S::mpg7143@ads.northwestern.edu::1e897b35-0dd4-497a-9ab7-7a37e6c39d5b" providerId="AD" clId="Web-{4A6B99BC-4437-2C96-1953-AC30156BC5E3}" dt="2024-02-17T00:29:37.770" v="554" actId="14100"/>
          <ac:spMkLst>
            <pc:docMk/>
            <pc:sldMk cId="669186710" sldId="893"/>
            <ac:spMk id="2" creationId="{304FC3E6-8E03-4AD0-DC5A-624DF52B6ED0}"/>
          </ac:spMkLst>
        </pc:spChg>
        <pc:spChg chg="del">
          <ac:chgData name="Kiela Karina Moreno" userId="S::mpg7143@ads.northwestern.edu::1e897b35-0dd4-497a-9ab7-7a37e6c39d5b" providerId="AD" clId="Web-{4A6B99BC-4437-2C96-1953-AC30156BC5E3}" dt="2024-02-17T00:29:26.192" v="551"/>
          <ac:spMkLst>
            <pc:docMk/>
            <pc:sldMk cId="669186710" sldId="893"/>
            <ac:spMk id="4" creationId="{8C82C81E-502D-BE3D-429C-0EA81B1F57B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Kiela Karina Moreno" userId="S::mpg7143@ads.northwestern.edu::1e897b35-0dd4-497a-9ab7-7a37e6c39d5b" providerId="AD" clId="Web-{4A6B99BC-4437-2C96-1953-AC30156BC5E3}" dt="2024-02-17T00:41:34.591" v="692"/>
              <pc2:cmMkLst xmlns:pc2="http://schemas.microsoft.com/office/powerpoint/2019/9/main/command">
                <pc:docMk/>
                <pc:sldMk cId="669186710" sldId="893"/>
                <pc2:cmMk id="{1E42278D-D952-44AD-8EF6-2C0F110B051C}"/>
              </pc2:cmMkLst>
            </pc226:cmChg>
          </p:ext>
        </pc:extLst>
      </pc:sldChg>
      <pc:sldChg chg="addSp delSp modSp new">
        <pc:chgData name="Kiela Karina Moreno" userId="S::mpg7143@ads.northwestern.edu::1e897b35-0dd4-497a-9ab7-7a37e6c39d5b" providerId="AD" clId="Web-{4A6B99BC-4437-2C96-1953-AC30156BC5E3}" dt="2024-02-17T01:10:03.665" v="1733" actId="1076"/>
        <pc:sldMkLst>
          <pc:docMk/>
          <pc:sldMk cId="1799103150" sldId="894"/>
        </pc:sldMkLst>
        <pc:spChg chg="del">
          <ac:chgData name="Kiela Karina Moreno" userId="S::mpg7143@ads.northwestern.edu::1e897b35-0dd4-497a-9ab7-7a37e6c39d5b" providerId="AD" clId="Web-{4A6B99BC-4437-2C96-1953-AC30156BC5E3}" dt="2024-02-17T00:58:25.565" v="1567"/>
          <ac:spMkLst>
            <pc:docMk/>
            <pc:sldMk cId="1799103150" sldId="894"/>
            <ac:spMk id="2" creationId="{067DFBF1-3879-BD69-5E35-9B6B48FE51B5}"/>
          </ac:spMkLst>
        </pc:spChg>
        <pc:spChg chg="del">
          <ac:chgData name="Kiela Karina Moreno" userId="S::mpg7143@ads.northwestern.edu::1e897b35-0dd4-497a-9ab7-7a37e6c39d5b" providerId="AD" clId="Web-{4A6B99BC-4437-2C96-1953-AC30156BC5E3}" dt="2024-02-17T00:58:28.643" v="1569"/>
          <ac:spMkLst>
            <pc:docMk/>
            <pc:sldMk cId="1799103150" sldId="894"/>
            <ac:spMk id="3" creationId="{108403EF-F413-2907-AB0B-8E3D851E5BDD}"/>
          </ac:spMkLst>
        </pc:spChg>
        <pc:spChg chg="mod">
          <ac:chgData name="Kiela Karina Moreno" userId="S::mpg7143@ads.northwestern.edu::1e897b35-0dd4-497a-9ab7-7a37e6c39d5b" providerId="AD" clId="Web-{4A6B99BC-4437-2C96-1953-AC30156BC5E3}" dt="2024-02-17T01:10:00.243" v="1732" actId="1076"/>
          <ac:spMkLst>
            <pc:docMk/>
            <pc:sldMk cId="1799103150" sldId="894"/>
            <ac:spMk id="5" creationId="{D54BAF8E-1C87-9AC2-7EDA-A672CC5B0D6A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0:59:05.691" v="1591" actId="20577"/>
          <ac:spMkLst>
            <pc:docMk/>
            <pc:sldMk cId="1799103150" sldId="894"/>
            <ac:spMk id="11" creationId="{C7BE8C9B-B2A6-C4A2-E203-0A1624B519D9}"/>
          </ac:spMkLst>
        </pc:spChg>
        <pc:spChg chg="add mod">
          <ac:chgData name="Kiela Karina Moreno" userId="S::mpg7143@ads.northwestern.edu::1e897b35-0dd4-497a-9ab7-7a37e6c39d5b" providerId="AD" clId="Web-{4A6B99BC-4437-2C96-1953-AC30156BC5E3}" dt="2024-02-17T01:09:36.055" v="1730" actId="20577"/>
          <ac:spMkLst>
            <pc:docMk/>
            <pc:sldMk cId="1799103150" sldId="894"/>
            <ac:spMk id="13" creationId="{9274830F-B6C8-51E5-A697-EDDDB56FB103}"/>
          </ac:spMkLst>
        </pc:spChg>
        <pc:picChg chg="add mod">
          <ac:chgData name="Kiela Karina Moreno" userId="S::mpg7143@ads.northwestern.edu::1e897b35-0dd4-497a-9ab7-7a37e6c39d5b" providerId="AD" clId="Web-{4A6B99BC-4437-2C96-1953-AC30156BC5E3}" dt="2024-02-17T01:03:25.512" v="1612" actId="14100"/>
          <ac:picMkLst>
            <pc:docMk/>
            <pc:sldMk cId="1799103150" sldId="894"/>
            <ac:picMk id="7" creationId="{63685CC7-01CB-5862-B2A6-41A9DD7B34DC}"/>
          </ac:picMkLst>
        </pc:picChg>
        <pc:picChg chg="add">
          <ac:chgData name="Kiela Karina Moreno" userId="S::mpg7143@ads.northwestern.edu::1e897b35-0dd4-497a-9ab7-7a37e6c39d5b" providerId="AD" clId="Web-{4A6B99BC-4437-2C96-1953-AC30156BC5E3}" dt="2024-02-17T00:58:26.221" v="1568"/>
          <ac:picMkLst>
            <pc:docMk/>
            <pc:sldMk cId="1799103150" sldId="894"/>
            <ac:picMk id="9" creationId="{CE34D3AF-FAA9-131B-87BA-3F91EB23F267}"/>
          </ac:picMkLst>
        </pc:picChg>
        <pc:picChg chg="add mod modCrop">
          <ac:chgData name="Kiela Karina Moreno" userId="S::mpg7143@ads.northwestern.edu::1e897b35-0dd4-497a-9ab7-7a37e6c39d5b" providerId="AD" clId="Web-{4A6B99BC-4437-2C96-1953-AC30156BC5E3}" dt="2024-02-17T01:10:03.665" v="1733" actId="1076"/>
          <ac:picMkLst>
            <pc:docMk/>
            <pc:sldMk cId="1799103150" sldId="894"/>
            <ac:picMk id="14" creationId="{B12F179E-14C3-0E6D-91D2-F9F147F41ED6}"/>
          </ac:picMkLst>
        </pc:picChg>
      </pc:sldChg>
    </pc:docChg>
  </pc:docChgLst>
  <pc:docChgLst>
    <pc:chgData name="Kiela Karina Moreno" userId="S::mpg7143@ads.northwestern.edu::1e897b35-0dd4-497a-9ab7-7a37e6c39d5b" providerId="AD" clId="Web-{12A85055-B95E-FF26-DC9B-2AF9818C3BF6}"/>
    <pc:docChg chg="modSld">
      <pc:chgData name="Kiela Karina Moreno" userId="S::mpg7143@ads.northwestern.edu::1e897b35-0dd4-497a-9ab7-7a37e6c39d5b" providerId="AD" clId="Web-{12A85055-B95E-FF26-DC9B-2AF9818C3BF6}" dt="2024-01-26T01:13:31.537" v="8" actId="20577"/>
      <pc:docMkLst>
        <pc:docMk/>
      </pc:docMkLst>
      <pc:sldChg chg="modSp">
        <pc:chgData name="Kiela Karina Moreno" userId="S::mpg7143@ads.northwestern.edu::1e897b35-0dd4-497a-9ab7-7a37e6c39d5b" providerId="AD" clId="Web-{12A85055-B95E-FF26-DC9B-2AF9818C3BF6}" dt="2024-01-26T01:11:54.629" v="1" actId="1076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12A85055-B95E-FF26-DC9B-2AF9818C3BF6}" dt="2024-01-26T01:11:54.629" v="1" actId="1076"/>
          <ac:spMkLst>
            <pc:docMk/>
            <pc:sldMk cId="2820585005" sldId="856"/>
            <ac:spMk id="3" creationId="{FADC0547-5E97-EE89-A9F3-3D3E822F0FA8}"/>
          </ac:spMkLst>
        </pc:spChg>
      </pc:sldChg>
      <pc:sldChg chg="modSp">
        <pc:chgData name="Kiela Karina Moreno" userId="S::mpg7143@ads.northwestern.edu::1e897b35-0dd4-497a-9ab7-7a37e6c39d5b" providerId="AD" clId="Web-{12A85055-B95E-FF26-DC9B-2AF9818C3BF6}" dt="2024-01-26T01:12:18.755" v="6" actId="1076"/>
        <pc:sldMkLst>
          <pc:docMk/>
          <pc:sldMk cId="2665110015" sldId="857"/>
        </pc:sldMkLst>
        <pc:spChg chg="mod">
          <ac:chgData name="Kiela Karina Moreno" userId="S::mpg7143@ads.northwestern.edu::1e897b35-0dd4-497a-9ab7-7a37e6c39d5b" providerId="AD" clId="Web-{12A85055-B95E-FF26-DC9B-2AF9818C3BF6}" dt="2024-01-26T01:12:18.755" v="6" actId="1076"/>
          <ac:spMkLst>
            <pc:docMk/>
            <pc:sldMk cId="2665110015" sldId="857"/>
            <ac:spMk id="3" creationId="{F8846CBE-83EF-4010-D9EA-14AA5B3CB2A0}"/>
          </ac:spMkLst>
        </pc:spChg>
      </pc:sldChg>
      <pc:sldChg chg="modSp">
        <pc:chgData name="Kiela Karina Moreno" userId="S::mpg7143@ads.northwestern.edu::1e897b35-0dd4-497a-9ab7-7a37e6c39d5b" providerId="AD" clId="Web-{12A85055-B95E-FF26-DC9B-2AF9818C3BF6}" dt="2024-01-26T01:13:31.537" v="8" actId="20577"/>
        <pc:sldMkLst>
          <pc:docMk/>
          <pc:sldMk cId="3358532880" sldId="860"/>
        </pc:sldMkLst>
        <pc:spChg chg="mod">
          <ac:chgData name="Kiela Karina Moreno" userId="S::mpg7143@ads.northwestern.edu::1e897b35-0dd4-497a-9ab7-7a37e6c39d5b" providerId="AD" clId="Web-{12A85055-B95E-FF26-DC9B-2AF9818C3BF6}" dt="2024-01-26T01:13:31.537" v="8" actId="20577"/>
          <ac:spMkLst>
            <pc:docMk/>
            <pc:sldMk cId="3358532880" sldId="860"/>
            <ac:spMk id="6" creationId="{0A19B7D0-D2C1-0E7C-DA5D-71EC98546092}"/>
          </ac:spMkLst>
        </pc:spChg>
      </pc:sldChg>
      <pc:sldChg chg="modSp">
        <pc:chgData name="Kiela Karina Moreno" userId="S::mpg7143@ads.northwestern.edu::1e897b35-0dd4-497a-9ab7-7a37e6c39d5b" providerId="AD" clId="Web-{12A85055-B95E-FF26-DC9B-2AF9818C3BF6}" dt="2024-01-26T01:12:04.192" v="2" actId="20577"/>
        <pc:sldMkLst>
          <pc:docMk/>
          <pc:sldMk cId="3254557287" sldId="861"/>
        </pc:sldMkLst>
        <pc:spChg chg="mod">
          <ac:chgData name="Kiela Karina Moreno" userId="S::mpg7143@ads.northwestern.edu::1e897b35-0dd4-497a-9ab7-7a37e6c39d5b" providerId="AD" clId="Web-{12A85055-B95E-FF26-DC9B-2AF9818C3BF6}" dt="2024-01-26T01:12:04.192" v="2" actId="20577"/>
          <ac:spMkLst>
            <pc:docMk/>
            <pc:sldMk cId="3254557287" sldId="861"/>
            <ac:spMk id="5" creationId="{CC1A758B-11CF-30AA-57C3-72F03852AF49}"/>
          </ac:spMkLst>
        </pc:spChg>
      </pc:sldChg>
    </pc:docChg>
  </pc:docChgLst>
  <pc:docChgLst>
    <pc:chgData name="Kiela Karina Moreno" userId="S::mpg7143@ads.northwestern.edu::1e897b35-0dd4-497a-9ab7-7a37e6c39d5b" providerId="AD" clId="Web-{07227570-3E3B-234F-EF1F-4904A854AE99}"/>
    <pc:docChg chg="">
      <pc:chgData name="Kiela Karina Moreno" userId="S::mpg7143@ads.northwestern.edu::1e897b35-0dd4-497a-9ab7-7a37e6c39d5b" providerId="AD" clId="Web-{07227570-3E3B-234F-EF1F-4904A854AE99}" dt="2024-02-18T01:48:03.037" v="0"/>
      <pc:docMkLst>
        <pc:docMk/>
      </pc:docMkLst>
      <pc:sldChg chg="modCm">
        <pc:chgData name="Kiela Karina Moreno" userId="S::mpg7143@ads.northwestern.edu::1e897b35-0dd4-497a-9ab7-7a37e6c39d5b" providerId="AD" clId="Web-{07227570-3E3B-234F-EF1F-4904A854AE99}" dt="2024-02-18T01:48:03.037" v="0"/>
        <pc:sldMkLst>
          <pc:docMk/>
          <pc:sldMk cId="1549817843" sldId="8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Kiela Karina Moreno" userId="S::mpg7143@ads.northwestern.edu::1e897b35-0dd4-497a-9ab7-7a37e6c39d5b" providerId="AD" clId="Web-{07227570-3E3B-234F-EF1F-4904A854AE99}" dt="2024-02-18T01:48:03.037" v="0"/>
              <pc2:cmMkLst xmlns:pc2="http://schemas.microsoft.com/office/powerpoint/2019/9/main/command">
                <pc:docMk/>
                <pc:sldMk cId="1549817843" sldId="859"/>
                <pc2:cmMk id="{871CD6B5-C642-41C2-994D-168230D8AF95}"/>
              </pc2:cmMkLst>
              <pc226:cmRplyChg chg="add">
                <pc226:chgData name="Kiela Karina Moreno" userId="S::mpg7143@ads.northwestern.edu::1e897b35-0dd4-497a-9ab7-7a37e6c39d5b" providerId="AD" clId="Web-{07227570-3E3B-234F-EF1F-4904A854AE99}" dt="2024-02-18T01:48:03.037" v="0"/>
                <pc2:cmRplyMkLst xmlns:pc2="http://schemas.microsoft.com/office/powerpoint/2019/9/main/command">
                  <pc:docMk/>
                  <pc:sldMk cId="1549817843" sldId="859"/>
                  <pc2:cmMk id="{871CD6B5-C642-41C2-994D-168230D8AF95}"/>
                  <pc2:cmRplyMk id="{DD849B2F-D329-41C4-BF68-E02CD65EB640}"/>
                </pc2:cmRplyMkLst>
              </pc226:cmRplyChg>
            </pc226:cmChg>
          </p:ext>
        </pc:extLst>
      </pc:sldChg>
    </pc:docChg>
  </pc:docChgLst>
  <pc:docChgLst>
    <pc:chgData name="Kiela Karina Moreno" userId="S::mpg7143@ads.northwestern.edu::1e897b35-0dd4-497a-9ab7-7a37e6c39d5b" providerId="AD" clId="Web-{65446D9D-2963-5F5B-42D7-65DD48F57406}"/>
    <pc:docChg chg="addSld delSld modSld">
      <pc:chgData name="Kiela Karina Moreno" userId="S::mpg7143@ads.northwestern.edu::1e897b35-0dd4-497a-9ab7-7a37e6c39d5b" providerId="AD" clId="Web-{65446D9D-2963-5F5B-42D7-65DD48F57406}" dt="2024-01-27T17:34:29.401" v="206" actId="20577"/>
      <pc:docMkLst>
        <pc:docMk/>
      </pc:docMkLst>
      <pc:sldChg chg="addSp modSp">
        <pc:chgData name="Kiela Karina Moreno" userId="S::mpg7143@ads.northwestern.edu::1e897b35-0dd4-497a-9ab7-7a37e6c39d5b" providerId="AD" clId="Web-{65446D9D-2963-5F5B-42D7-65DD48F57406}" dt="2024-01-27T17:14:36.105" v="71"/>
        <pc:sldMkLst>
          <pc:docMk/>
          <pc:sldMk cId="4044691067" sldId="283"/>
        </pc:sldMkLst>
        <pc:spChg chg="add mod">
          <ac:chgData name="Kiela Karina Moreno" userId="S::mpg7143@ads.northwestern.edu::1e897b35-0dd4-497a-9ab7-7a37e6c39d5b" providerId="AD" clId="Web-{65446D9D-2963-5F5B-42D7-65DD48F57406}" dt="2024-01-27T17:11:54.271" v="37" actId="1076"/>
          <ac:spMkLst>
            <pc:docMk/>
            <pc:sldMk cId="4044691067" sldId="283"/>
            <ac:spMk id="4" creationId="{8B9DA9E4-8E57-D07F-2A71-1A5B61A0FBE2}"/>
          </ac:spMkLst>
        </pc:spChg>
        <pc:picChg chg="add mod">
          <ac:chgData name="Kiela Karina Moreno" userId="S::mpg7143@ads.northwestern.edu::1e897b35-0dd4-497a-9ab7-7a37e6c39d5b" providerId="AD" clId="Web-{65446D9D-2963-5F5B-42D7-65DD48F57406}" dt="2024-01-27T17:14:36.105" v="71"/>
          <ac:picMkLst>
            <pc:docMk/>
            <pc:sldMk cId="4044691067" sldId="283"/>
            <ac:picMk id="2" creationId="{4E44033E-2F3E-0C8C-79D1-4A8A074333CD}"/>
          </ac:picMkLst>
        </pc:picChg>
        <pc:picChg chg="add mod">
          <ac:chgData name="Kiela Karina Moreno" userId="S::mpg7143@ads.northwestern.edu::1e897b35-0dd4-497a-9ab7-7a37e6c39d5b" providerId="AD" clId="Web-{65446D9D-2963-5F5B-42D7-65DD48F57406}" dt="2024-01-27T17:14:07.979" v="70" actId="1076"/>
          <ac:picMkLst>
            <pc:docMk/>
            <pc:sldMk cId="4044691067" sldId="283"/>
            <ac:picMk id="6" creationId="{55A968CF-1C20-EB34-0C1E-D2FFE54F0CC9}"/>
          </ac:picMkLst>
        </pc:picChg>
      </pc:sldChg>
      <pc:sldChg chg="addSp delSp modSp">
        <pc:chgData name="Kiela Karina Moreno" userId="S::mpg7143@ads.northwestern.edu::1e897b35-0dd4-497a-9ab7-7a37e6c39d5b" providerId="AD" clId="Web-{65446D9D-2963-5F5B-42D7-65DD48F57406}" dt="2024-01-27T17:14:55.106" v="73" actId="1076"/>
        <pc:sldMkLst>
          <pc:docMk/>
          <pc:sldMk cId="1141813547" sldId="737"/>
        </pc:sldMkLst>
        <pc:spChg chg="add del mod">
          <ac:chgData name="Kiela Karina Moreno" userId="S::mpg7143@ads.northwestern.edu::1e897b35-0dd4-497a-9ab7-7a37e6c39d5b" providerId="AD" clId="Web-{65446D9D-2963-5F5B-42D7-65DD48F57406}" dt="2024-01-27T17:12:01.865" v="38"/>
          <ac:spMkLst>
            <pc:docMk/>
            <pc:sldMk cId="1141813547" sldId="737"/>
            <ac:spMk id="27" creationId="{4F04780E-06E3-720F-4087-510AC7DFA5CA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2:03.209" v="39"/>
          <ac:spMkLst>
            <pc:docMk/>
            <pc:sldMk cId="1141813547" sldId="737"/>
            <ac:spMk id="29" creationId="{F497B51E-B23E-81E6-6EEC-C84EF82FCD34}"/>
          </ac:spMkLst>
        </pc:spChg>
        <pc:picChg chg="add mod">
          <ac:chgData name="Kiela Karina Moreno" userId="S::mpg7143@ads.northwestern.edu::1e897b35-0dd4-497a-9ab7-7a37e6c39d5b" providerId="AD" clId="Web-{65446D9D-2963-5F5B-42D7-65DD48F57406}" dt="2024-01-27T17:14:55.106" v="73" actId="1076"/>
          <ac:picMkLst>
            <pc:docMk/>
            <pc:sldMk cId="1141813547" sldId="737"/>
            <ac:picMk id="30" creationId="{D4E3D497-12D9-1528-0291-A8E833B57B5D}"/>
          </ac:picMkLst>
        </pc:picChg>
      </pc:sldChg>
      <pc:sldChg chg="addSp delSp modSp add del">
        <pc:chgData name="Kiela Karina Moreno" userId="S::mpg7143@ads.northwestern.edu::1e897b35-0dd4-497a-9ab7-7a37e6c39d5b" providerId="AD" clId="Web-{65446D9D-2963-5F5B-42D7-65DD48F57406}" dt="2024-01-27T17:15:24.904" v="80" actId="1076"/>
        <pc:sldMkLst>
          <pc:docMk/>
          <pc:sldMk cId="1617559145" sldId="825"/>
        </pc:sldMkLst>
        <pc:spChg chg="del">
          <ac:chgData name="Kiela Karina Moreno" userId="S::mpg7143@ads.northwestern.edu::1e897b35-0dd4-497a-9ab7-7a37e6c39d5b" providerId="AD" clId="Web-{65446D9D-2963-5F5B-42D7-65DD48F57406}" dt="2024-01-27T17:12:13.991" v="42"/>
          <ac:spMkLst>
            <pc:docMk/>
            <pc:sldMk cId="1617559145" sldId="825"/>
            <ac:spMk id="5" creationId="{F311C763-309B-DB8E-4FAF-E8BF5314B6A6}"/>
          </ac:spMkLst>
        </pc:spChg>
        <pc:spChg chg="mod">
          <ac:chgData name="Kiela Karina Moreno" userId="S::mpg7143@ads.northwestern.edu::1e897b35-0dd4-497a-9ab7-7a37e6c39d5b" providerId="AD" clId="Web-{65446D9D-2963-5F5B-42D7-65DD48F57406}" dt="2024-01-27T17:15:12.278" v="76" actId="20577"/>
          <ac:spMkLst>
            <pc:docMk/>
            <pc:sldMk cId="1617559145" sldId="825"/>
            <ac:spMk id="6" creationId="{F6338EC5-0A81-7DC2-69F0-D3BF4953F92A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2:15.022" v="43"/>
          <ac:spMkLst>
            <pc:docMk/>
            <pc:sldMk cId="1617559145" sldId="825"/>
            <ac:spMk id="10" creationId="{D5A7C91D-A200-351E-4530-9B7FCDE69593}"/>
          </ac:spMkLst>
        </pc:spChg>
        <pc:picChg chg="mod">
          <ac:chgData name="Kiela Karina Moreno" userId="S::mpg7143@ads.northwestern.edu::1e897b35-0dd4-497a-9ab7-7a37e6c39d5b" providerId="AD" clId="Web-{65446D9D-2963-5F5B-42D7-65DD48F57406}" dt="2024-01-27T17:15:15.982" v="77" actId="1076"/>
          <ac:picMkLst>
            <pc:docMk/>
            <pc:sldMk cId="1617559145" sldId="825"/>
            <ac:picMk id="8" creationId="{F6AF464B-BCF9-C413-1A61-5938E8025FD8}"/>
          </ac:picMkLst>
        </pc:picChg>
        <pc:picChg chg="add mod">
          <ac:chgData name="Kiela Karina Moreno" userId="S::mpg7143@ads.northwestern.edu::1e897b35-0dd4-497a-9ab7-7a37e6c39d5b" providerId="AD" clId="Web-{65446D9D-2963-5F5B-42D7-65DD48F57406}" dt="2024-01-27T17:15:24.904" v="80" actId="1076"/>
          <ac:picMkLst>
            <pc:docMk/>
            <pc:sldMk cId="1617559145" sldId="825"/>
            <ac:picMk id="11" creationId="{39F70EED-8925-891D-6EF1-076AC5879608}"/>
          </ac:picMkLst>
        </pc:picChg>
      </pc:sldChg>
      <pc:sldChg chg="addSp delSp modSp">
        <pc:chgData name="Kiela Karina Moreno" userId="S::mpg7143@ads.northwestern.edu::1e897b35-0dd4-497a-9ab7-7a37e6c39d5b" providerId="AD" clId="Web-{65446D9D-2963-5F5B-42D7-65DD48F57406}" dt="2024-01-27T17:12:08.490" v="41"/>
        <pc:sldMkLst>
          <pc:docMk/>
          <pc:sldMk cId="3419957415" sldId="829"/>
        </pc:sldMkLst>
        <pc:spChg chg="add del mod">
          <ac:chgData name="Kiela Karina Moreno" userId="S::mpg7143@ads.northwestern.edu::1e897b35-0dd4-497a-9ab7-7a37e6c39d5b" providerId="AD" clId="Web-{65446D9D-2963-5F5B-42D7-65DD48F57406}" dt="2024-01-27T17:12:07.584" v="40"/>
          <ac:spMkLst>
            <pc:docMk/>
            <pc:sldMk cId="3419957415" sldId="829"/>
            <ac:spMk id="3" creationId="{4910E826-8FD9-F499-9F22-6972892AB3C0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2:08.490" v="41"/>
          <ac:spMkLst>
            <pc:docMk/>
            <pc:sldMk cId="3419957415" sldId="829"/>
            <ac:spMk id="5" creationId="{B416FCBB-DF87-440B-74CF-074B2CA631CD}"/>
          </ac:spMkLst>
        </pc:spChg>
      </pc:sldChg>
      <pc:sldChg chg="addSp modSp">
        <pc:chgData name="Kiela Karina Moreno" userId="S::mpg7143@ads.northwestern.edu::1e897b35-0dd4-497a-9ab7-7a37e6c39d5b" providerId="AD" clId="Web-{65446D9D-2963-5F5B-42D7-65DD48F57406}" dt="2024-01-27T17:13:09.258" v="54"/>
        <pc:sldMkLst>
          <pc:docMk/>
          <pc:sldMk cId="4099246298" sldId="830"/>
        </pc:sldMkLst>
        <pc:spChg chg="add mod">
          <ac:chgData name="Kiela Karina Moreno" userId="S::mpg7143@ads.northwestern.edu::1e897b35-0dd4-497a-9ab7-7a37e6c39d5b" providerId="AD" clId="Web-{65446D9D-2963-5F5B-42D7-65DD48F57406}" dt="2024-01-27T17:13:09.258" v="54"/>
          <ac:spMkLst>
            <pc:docMk/>
            <pc:sldMk cId="4099246298" sldId="830"/>
            <ac:spMk id="6" creationId="{520B9984-C8A7-F7D7-868E-A6EE36E4A527}"/>
          </ac:spMkLst>
        </pc:spChg>
      </pc:sldChg>
      <pc:sldChg chg="addSp delSp modSp">
        <pc:chgData name="Kiela Karina Moreno" userId="S::mpg7143@ads.northwestern.edu::1e897b35-0dd4-497a-9ab7-7a37e6c39d5b" providerId="AD" clId="Web-{65446D9D-2963-5F5B-42D7-65DD48F57406}" dt="2024-01-27T17:28:06.356" v="152" actId="1076"/>
        <pc:sldMkLst>
          <pc:docMk/>
          <pc:sldMk cId="1383153618" sldId="832"/>
        </pc:sldMkLst>
        <pc:spChg chg="del">
          <ac:chgData name="Kiela Karina Moreno" userId="S::mpg7143@ads.northwestern.edu::1e897b35-0dd4-497a-9ab7-7a37e6c39d5b" providerId="AD" clId="Web-{65446D9D-2963-5F5B-42D7-65DD48F57406}" dt="2024-01-27T17:13:22.681" v="57"/>
          <ac:spMkLst>
            <pc:docMk/>
            <pc:sldMk cId="1383153618" sldId="832"/>
            <ac:spMk id="5" creationId="{5DD5C2F7-CC9C-B84B-F5E0-2D89F85A1AAD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3:23.306" v="58"/>
          <ac:spMkLst>
            <pc:docMk/>
            <pc:sldMk cId="1383153618" sldId="832"/>
            <ac:spMk id="8" creationId="{D264C5B4-96BC-52D9-4761-56A7E9B3FFB0}"/>
          </ac:spMkLst>
        </pc:spChg>
        <pc:picChg chg="add mod">
          <ac:chgData name="Kiela Karina Moreno" userId="S::mpg7143@ads.northwestern.edu::1e897b35-0dd4-497a-9ab7-7a37e6c39d5b" providerId="AD" clId="Web-{65446D9D-2963-5F5B-42D7-65DD48F57406}" dt="2024-01-27T17:28:06.356" v="152" actId="1076"/>
          <ac:picMkLst>
            <pc:docMk/>
            <pc:sldMk cId="1383153618" sldId="832"/>
            <ac:picMk id="9" creationId="{9EA02C1C-27BB-D0B9-13FF-7769D90AD04A}"/>
          </ac:picMkLst>
        </pc:picChg>
      </pc:sldChg>
      <pc:sldChg chg="addSp delSp modSp">
        <pc:chgData name="Kiela Karina Moreno" userId="S::mpg7143@ads.northwestern.edu::1e897b35-0dd4-497a-9ab7-7a37e6c39d5b" providerId="AD" clId="Web-{65446D9D-2963-5F5B-42D7-65DD48F57406}" dt="2024-01-27T17:13:27.806" v="60"/>
        <pc:sldMkLst>
          <pc:docMk/>
          <pc:sldMk cId="2701760186" sldId="833"/>
        </pc:sldMkLst>
        <pc:spChg chg="mod">
          <ac:chgData name="Kiela Karina Moreno" userId="S::mpg7143@ads.northwestern.edu::1e897b35-0dd4-497a-9ab7-7a37e6c39d5b" providerId="AD" clId="Web-{65446D9D-2963-5F5B-42D7-65DD48F57406}" dt="2024-01-27T17:00:44.025" v="9" actId="1076"/>
          <ac:spMkLst>
            <pc:docMk/>
            <pc:sldMk cId="2701760186" sldId="833"/>
            <ac:spMk id="2" creationId="{00000000-0000-0000-0000-000000000000}"/>
          </ac:spMkLst>
        </pc:spChg>
        <pc:spChg chg="del">
          <ac:chgData name="Kiela Karina Moreno" userId="S::mpg7143@ads.northwestern.edu::1e897b35-0dd4-497a-9ab7-7a37e6c39d5b" providerId="AD" clId="Web-{65446D9D-2963-5F5B-42D7-65DD48F57406}" dt="2024-01-27T17:13:26.853" v="59"/>
          <ac:spMkLst>
            <pc:docMk/>
            <pc:sldMk cId="2701760186" sldId="833"/>
            <ac:spMk id="5" creationId="{00000000-0000-0000-0000-000000000000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3:27.806" v="60"/>
          <ac:spMkLst>
            <pc:docMk/>
            <pc:sldMk cId="2701760186" sldId="833"/>
            <ac:spMk id="17" creationId="{7BC6E56A-CF12-B196-067F-25EE24D1BADF}"/>
          </ac:spMkLst>
        </pc:spChg>
      </pc:sldChg>
      <pc:sldChg chg="addSp delSp modSp">
        <pc:chgData name="Kiela Karina Moreno" userId="S::mpg7143@ads.northwestern.edu::1e897b35-0dd4-497a-9ab7-7a37e6c39d5b" providerId="AD" clId="Web-{65446D9D-2963-5F5B-42D7-65DD48F57406}" dt="2024-01-27T17:13:38.838" v="64"/>
        <pc:sldMkLst>
          <pc:docMk/>
          <pc:sldMk cId="3117634655" sldId="845"/>
        </pc:sldMkLst>
        <pc:spChg chg="del">
          <ac:chgData name="Kiela Karina Moreno" userId="S::mpg7143@ads.northwestern.edu::1e897b35-0dd4-497a-9ab7-7a37e6c39d5b" providerId="AD" clId="Web-{65446D9D-2963-5F5B-42D7-65DD48F57406}" dt="2024-01-27T17:13:38.244" v="63"/>
          <ac:spMkLst>
            <pc:docMk/>
            <pc:sldMk cId="3117634655" sldId="845"/>
            <ac:spMk id="5" creationId="{73331585-888F-0107-E78B-CD3615B1705D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3:38.838" v="64"/>
          <ac:spMkLst>
            <pc:docMk/>
            <pc:sldMk cId="3117634655" sldId="845"/>
            <ac:spMk id="7" creationId="{A742BC3D-6CDA-121F-6028-CA1546518FC2}"/>
          </ac:spMkLst>
        </pc:spChg>
      </pc:sldChg>
      <pc:sldChg chg="addSp delSp modSp">
        <pc:chgData name="Kiela Karina Moreno" userId="S::mpg7143@ads.northwestern.edu::1e897b35-0dd4-497a-9ab7-7a37e6c39d5b" providerId="AD" clId="Web-{65446D9D-2963-5F5B-42D7-65DD48F57406}" dt="2024-01-27T17:18:31.101" v="91" actId="1076"/>
        <pc:sldMkLst>
          <pc:docMk/>
          <pc:sldMk cId="1663322964" sldId="846"/>
        </pc:sldMkLst>
        <pc:spChg chg="del">
          <ac:chgData name="Kiela Karina Moreno" userId="S::mpg7143@ads.northwestern.edu::1e897b35-0dd4-497a-9ab7-7a37e6c39d5b" providerId="AD" clId="Web-{65446D9D-2963-5F5B-42D7-65DD48F57406}" dt="2024-01-27T17:13:34.197" v="61"/>
          <ac:spMkLst>
            <pc:docMk/>
            <pc:sldMk cId="1663322964" sldId="846"/>
            <ac:spMk id="5" creationId="{00000000-0000-0000-0000-000000000000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3:34.837" v="62"/>
          <ac:spMkLst>
            <pc:docMk/>
            <pc:sldMk cId="1663322964" sldId="846"/>
            <ac:spMk id="83" creationId="{E8B0A7CF-C775-569B-5D28-11D12EF0B006}"/>
          </ac:spMkLst>
        </pc:spChg>
        <pc:picChg chg="add mod">
          <ac:chgData name="Kiela Karina Moreno" userId="S::mpg7143@ads.northwestern.edu::1e897b35-0dd4-497a-9ab7-7a37e6c39d5b" providerId="AD" clId="Web-{65446D9D-2963-5F5B-42D7-65DD48F57406}" dt="2024-01-27T17:18:31.101" v="91" actId="1076"/>
          <ac:picMkLst>
            <pc:docMk/>
            <pc:sldMk cId="1663322964" sldId="846"/>
            <ac:picMk id="122" creationId="{DE6F542F-3C7A-9CB3-2F27-9A55C62DE245}"/>
          </ac:picMkLst>
        </pc:picChg>
      </pc:sldChg>
      <pc:sldChg chg="addSp delSp modSp">
        <pc:chgData name="Kiela Karina Moreno" userId="S::mpg7143@ads.northwestern.edu::1e897b35-0dd4-497a-9ab7-7a37e6c39d5b" providerId="AD" clId="Web-{65446D9D-2963-5F5B-42D7-65DD48F57406}" dt="2024-01-27T17:13:43.119" v="66"/>
        <pc:sldMkLst>
          <pc:docMk/>
          <pc:sldMk cId="2978648129" sldId="852"/>
        </pc:sldMkLst>
        <pc:spChg chg="add mod">
          <ac:chgData name="Kiela Karina Moreno" userId="S::mpg7143@ads.northwestern.edu::1e897b35-0dd4-497a-9ab7-7a37e6c39d5b" providerId="AD" clId="Web-{65446D9D-2963-5F5B-42D7-65DD48F57406}" dt="2024-01-27T17:13:43.119" v="66"/>
          <ac:spMkLst>
            <pc:docMk/>
            <pc:sldMk cId="2978648129" sldId="852"/>
            <ac:spMk id="3" creationId="{80BDAA27-2B2B-7C1B-EFFA-E96DF2430B73}"/>
          </ac:spMkLst>
        </pc:spChg>
        <pc:spChg chg="del">
          <ac:chgData name="Kiela Karina Moreno" userId="S::mpg7143@ads.northwestern.edu::1e897b35-0dd4-497a-9ab7-7a37e6c39d5b" providerId="AD" clId="Web-{65446D9D-2963-5F5B-42D7-65DD48F57406}" dt="2024-01-27T17:13:42.634" v="65"/>
          <ac:spMkLst>
            <pc:docMk/>
            <pc:sldMk cId="2978648129" sldId="852"/>
            <ac:spMk id="12725" creationId="{00000000-0000-0000-0000-000000000000}"/>
          </ac:spMkLst>
        </pc:spChg>
      </pc:sldChg>
      <pc:sldChg chg="addSp delSp modSp">
        <pc:chgData name="Kiela Karina Moreno" userId="S::mpg7143@ads.northwestern.edu::1e897b35-0dd4-497a-9ab7-7a37e6c39d5b" providerId="AD" clId="Web-{65446D9D-2963-5F5B-42D7-65DD48F57406}" dt="2024-01-27T17:13:18.852" v="56"/>
        <pc:sldMkLst>
          <pc:docMk/>
          <pc:sldMk cId="1881092197" sldId="855"/>
        </pc:sldMkLst>
        <pc:spChg chg="del">
          <ac:chgData name="Kiela Karina Moreno" userId="S::mpg7143@ads.northwestern.edu::1e897b35-0dd4-497a-9ab7-7a37e6c39d5b" providerId="AD" clId="Web-{65446D9D-2963-5F5B-42D7-65DD48F57406}" dt="2024-01-27T17:13:18.102" v="55"/>
          <ac:spMkLst>
            <pc:docMk/>
            <pc:sldMk cId="1881092197" sldId="855"/>
            <ac:spMk id="5" creationId="{58519CC6-7C54-87EE-08FC-CC127EFF1CA9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3:18.852" v="56"/>
          <ac:spMkLst>
            <pc:docMk/>
            <pc:sldMk cId="1881092197" sldId="855"/>
            <ac:spMk id="7" creationId="{509AC272-869E-2AE8-8376-D1E67AF91AD6}"/>
          </ac:spMkLst>
        </pc:spChg>
      </pc:sldChg>
      <pc:sldChg chg="addSp delSp modSp modNotes">
        <pc:chgData name="Kiela Karina Moreno" userId="S::mpg7143@ads.northwestern.edu::1e897b35-0dd4-497a-9ab7-7a37e6c39d5b" providerId="AD" clId="Web-{65446D9D-2963-5F5B-42D7-65DD48F57406}" dt="2024-01-27T17:34:29.401" v="206" actId="20577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65446D9D-2963-5F5B-42D7-65DD48F57406}" dt="2024-01-27T17:03:26.813" v="19" actId="14100"/>
          <ac:spMkLst>
            <pc:docMk/>
            <pc:sldMk cId="2820585005" sldId="856"/>
            <ac:spMk id="3" creationId="{FADC0547-5E97-EE89-A9F3-3D3E822F0FA8}"/>
          </ac:spMkLst>
        </pc:spChg>
        <pc:spChg chg="mod">
          <ac:chgData name="Kiela Karina Moreno" userId="S::mpg7143@ads.northwestern.edu::1e897b35-0dd4-497a-9ab7-7a37e6c39d5b" providerId="AD" clId="Web-{65446D9D-2963-5F5B-42D7-65DD48F57406}" dt="2024-01-27T17:34:29.401" v="206" actId="20577"/>
          <ac:spMkLst>
            <pc:docMk/>
            <pc:sldMk cId="2820585005" sldId="856"/>
            <ac:spMk id="5" creationId="{128C267F-D634-3898-5F27-33D0A5C5B94E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2:18.022" v="44"/>
          <ac:spMkLst>
            <pc:docMk/>
            <pc:sldMk cId="2820585005" sldId="856"/>
            <ac:spMk id="16" creationId="{78F81A00-3B48-CC01-2554-ACDE9CC0CDB7}"/>
          </ac:spMkLst>
        </pc:spChg>
        <pc:picChg chg="add">
          <ac:chgData name="Kiela Karina Moreno" userId="S::mpg7143@ads.northwestern.edu::1e897b35-0dd4-497a-9ab7-7a37e6c39d5b" providerId="AD" clId="Web-{65446D9D-2963-5F5B-42D7-65DD48F57406}" dt="2024-01-27T16:57:45.785" v="0"/>
          <ac:picMkLst>
            <pc:docMk/>
            <pc:sldMk cId="2820585005" sldId="856"/>
            <ac:picMk id="13" creationId="{B0CFAFA7-6FBC-59DF-E22A-1149674A6DD5}"/>
          </ac:picMkLst>
        </pc:picChg>
        <pc:picChg chg="add mod">
          <ac:chgData name="Kiela Karina Moreno" userId="S::mpg7143@ads.northwestern.edu::1e897b35-0dd4-497a-9ab7-7a37e6c39d5b" providerId="AD" clId="Web-{65446D9D-2963-5F5B-42D7-65DD48F57406}" dt="2024-01-27T17:10:25.799" v="27" actId="1076"/>
          <ac:picMkLst>
            <pc:docMk/>
            <pc:sldMk cId="2820585005" sldId="856"/>
            <ac:picMk id="14" creationId="{2B69C350-F004-B8ED-9201-16F0669E2379}"/>
          </ac:picMkLst>
        </pc:picChg>
        <pc:picChg chg="add mod">
          <ac:chgData name="Kiela Karina Moreno" userId="S::mpg7143@ads.northwestern.edu::1e897b35-0dd4-497a-9ab7-7a37e6c39d5b" providerId="AD" clId="Web-{65446D9D-2963-5F5B-42D7-65DD48F57406}" dt="2024-01-27T17:15:34.576" v="82" actId="1076"/>
          <ac:picMkLst>
            <pc:docMk/>
            <pc:sldMk cId="2820585005" sldId="856"/>
            <ac:picMk id="17" creationId="{8C29CEDE-2D25-F6D4-317F-EC72A3CA5202}"/>
          </ac:picMkLst>
        </pc:picChg>
        <pc:inkChg chg="del">
          <ac:chgData name="Kiela Karina Moreno" userId="S::mpg7143@ads.northwestern.edu::1e897b35-0dd4-497a-9ab7-7a37e6c39d5b" providerId="AD" clId="Web-{65446D9D-2963-5F5B-42D7-65DD48F57406}" dt="2024-01-27T16:58:01.566" v="1"/>
          <ac:inkMkLst>
            <pc:docMk/>
            <pc:sldMk cId="2820585005" sldId="856"/>
            <ac:inkMk id="2" creationId="{14C09DBC-3BA3-62FC-6868-51CF89F975F7}"/>
          </ac:inkMkLst>
        </pc:inkChg>
        <pc:inkChg chg="del">
          <ac:chgData name="Kiela Karina Moreno" userId="S::mpg7143@ads.northwestern.edu::1e897b35-0dd4-497a-9ab7-7a37e6c39d5b" providerId="AD" clId="Web-{65446D9D-2963-5F5B-42D7-65DD48F57406}" dt="2024-01-27T16:58:01.582" v="2"/>
          <ac:inkMkLst>
            <pc:docMk/>
            <pc:sldMk cId="2820585005" sldId="856"/>
            <ac:inkMk id="4" creationId="{E88CD12F-E969-DC4D-B935-4A4DC82766C1}"/>
          </ac:inkMkLst>
        </pc:inkChg>
        <pc:inkChg chg="del">
          <ac:chgData name="Kiela Karina Moreno" userId="S::mpg7143@ads.northwestern.edu::1e897b35-0dd4-497a-9ab7-7a37e6c39d5b" providerId="AD" clId="Web-{65446D9D-2963-5F5B-42D7-65DD48F57406}" dt="2024-01-27T16:58:04.067" v="3"/>
          <ac:inkMkLst>
            <pc:docMk/>
            <pc:sldMk cId="2820585005" sldId="856"/>
            <ac:inkMk id="6" creationId="{77B70301-6B33-DA12-8FFE-E97D919EA280}"/>
          </ac:inkMkLst>
        </pc:inkChg>
      </pc:sldChg>
      <pc:sldChg chg="addSp modSp">
        <pc:chgData name="Kiela Karina Moreno" userId="S::mpg7143@ads.northwestern.edu::1e897b35-0dd4-497a-9ab7-7a37e6c39d5b" providerId="AD" clId="Web-{65446D9D-2963-5F5B-42D7-65DD48F57406}" dt="2024-01-27T17:30:58.034" v="199" actId="1076"/>
        <pc:sldMkLst>
          <pc:docMk/>
          <pc:sldMk cId="2665110015" sldId="857"/>
        </pc:sldMkLst>
        <pc:spChg chg="mod">
          <ac:chgData name="Kiela Karina Moreno" userId="S::mpg7143@ads.northwestern.edu::1e897b35-0dd4-497a-9ab7-7a37e6c39d5b" providerId="AD" clId="Web-{65446D9D-2963-5F5B-42D7-65DD48F57406}" dt="2024-01-27T17:30:58.034" v="199" actId="1076"/>
          <ac:spMkLst>
            <pc:docMk/>
            <pc:sldMk cId="2665110015" sldId="857"/>
            <ac:spMk id="3" creationId="{F8846CBE-83EF-4010-D9EA-14AA5B3CB2A0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2:56.914" v="51"/>
          <ac:spMkLst>
            <pc:docMk/>
            <pc:sldMk cId="2665110015" sldId="857"/>
            <ac:spMk id="4" creationId="{7CC93CF7-01F4-7A1E-E52A-BB680739CA27}"/>
          </ac:spMkLst>
        </pc:spChg>
      </pc:sldChg>
      <pc:sldChg chg="addSp modSp">
        <pc:chgData name="Kiela Karina Moreno" userId="S::mpg7143@ads.northwestern.edu::1e897b35-0dd4-497a-9ab7-7a37e6c39d5b" providerId="AD" clId="Web-{65446D9D-2963-5F5B-42D7-65DD48F57406}" dt="2024-01-27T17:12:51.789" v="49"/>
        <pc:sldMkLst>
          <pc:docMk/>
          <pc:sldMk cId="1549817843" sldId="859"/>
        </pc:sldMkLst>
        <pc:spChg chg="add mod">
          <ac:chgData name="Kiela Karina Moreno" userId="S::mpg7143@ads.northwestern.edu::1e897b35-0dd4-497a-9ab7-7a37e6c39d5b" providerId="AD" clId="Web-{65446D9D-2963-5F5B-42D7-65DD48F57406}" dt="2024-01-27T17:12:51.789" v="49"/>
          <ac:spMkLst>
            <pc:docMk/>
            <pc:sldMk cId="1549817843" sldId="859"/>
            <ac:spMk id="33" creationId="{2376D03C-D685-4521-F6F4-236DC894336C}"/>
          </ac:spMkLst>
        </pc:spChg>
      </pc:sldChg>
      <pc:sldChg chg="addSp modSp">
        <pc:chgData name="Kiela Karina Moreno" userId="S::mpg7143@ads.northwestern.edu::1e897b35-0dd4-497a-9ab7-7a37e6c39d5b" providerId="AD" clId="Web-{65446D9D-2963-5F5B-42D7-65DD48F57406}" dt="2024-01-27T17:12:45.351" v="48" actId="1076"/>
        <pc:sldMkLst>
          <pc:docMk/>
          <pc:sldMk cId="3358532880" sldId="860"/>
        </pc:sldMkLst>
        <pc:spChg chg="add mod">
          <ac:chgData name="Kiela Karina Moreno" userId="S::mpg7143@ads.northwestern.edu::1e897b35-0dd4-497a-9ab7-7a37e6c39d5b" providerId="AD" clId="Web-{65446D9D-2963-5F5B-42D7-65DD48F57406}" dt="2024-01-27T17:01:19.167" v="11" actId="1076"/>
          <ac:spMkLst>
            <pc:docMk/>
            <pc:sldMk cId="3358532880" sldId="860"/>
            <ac:spMk id="4" creationId="{C1093426-7622-3EE6-322F-194FDFC82A19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2:37.741" v="47"/>
          <ac:spMkLst>
            <pc:docMk/>
            <pc:sldMk cId="3358532880" sldId="860"/>
            <ac:spMk id="11" creationId="{3F6B4A01-E3B9-E39C-52CA-182B6566A7B4}"/>
          </ac:spMkLst>
        </pc:spChg>
        <pc:picChg chg="mod">
          <ac:chgData name="Kiela Karina Moreno" userId="S::mpg7143@ads.northwestern.edu::1e897b35-0dd4-497a-9ab7-7a37e6c39d5b" providerId="AD" clId="Web-{65446D9D-2963-5F5B-42D7-65DD48F57406}" dt="2024-01-27T17:12:45.351" v="48" actId="1076"/>
          <ac:picMkLst>
            <pc:docMk/>
            <pc:sldMk cId="3358532880" sldId="860"/>
            <ac:picMk id="8" creationId="{6486A3DB-CA2B-7052-360C-64DBCA9F0A92}"/>
          </ac:picMkLst>
        </pc:picChg>
      </pc:sldChg>
      <pc:sldChg chg="addSp modSp">
        <pc:chgData name="Kiela Karina Moreno" userId="S::mpg7143@ads.northwestern.edu::1e897b35-0dd4-497a-9ab7-7a37e6c39d5b" providerId="AD" clId="Web-{65446D9D-2963-5F5B-42D7-65DD48F57406}" dt="2024-01-27T17:12:54.773" v="50"/>
        <pc:sldMkLst>
          <pc:docMk/>
          <pc:sldMk cId="3254557287" sldId="861"/>
        </pc:sldMkLst>
        <pc:spChg chg="add mod">
          <ac:chgData name="Kiela Karina Moreno" userId="S::mpg7143@ads.northwestern.edu::1e897b35-0dd4-497a-9ab7-7a37e6c39d5b" providerId="AD" clId="Web-{65446D9D-2963-5F5B-42D7-65DD48F57406}" dt="2024-01-27T17:01:30.340" v="13" actId="1076"/>
          <ac:spMkLst>
            <pc:docMk/>
            <pc:sldMk cId="3254557287" sldId="861"/>
            <ac:spMk id="4" creationId="{D869AE65-409F-C6C9-7204-11B651190E57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2:54.773" v="50"/>
          <ac:spMkLst>
            <pc:docMk/>
            <pc:sldMk cId="3254557287" sldId="861"/>
            <ac:spMk id="10" creationId="{FA20F2E4-AE01-C67C-1858-DD840E7370B1}"/>
          </ac:spMkLst>
        </pc:spChg>
        <pc:picChg chg="mod">
          <ac:chgData name="Kiela Karina Moreno" userId="S::mpg7143@ads.northwestern.edu::1e897b35-0dd4-497a-9ab7-7a37e6c39d5b" providerId="AD" clId="Web-{65446D9D-2963-5F5B-42D7-65DD48F57406}" dt="2024-01-27T17:00:19.321" v="8" actId="1076"/>
          <ac:picMkLst>
            <pc:docMk/>
            <pc:sldMk cId="3254557287" sldId="861"/>
            <ac:picMk id="9" creationId="{2E691C8C-BB71-2250-06CD-E53216F7A9A0}"/>
          </ac:picMkLst>
        </pc:picChg>
      </pc:sldChg>
      <pc:sldChg chg="addSp modSp">
        <pc:chgData name="Kiela Karina Moreno" userId="S::mpg7143@ads.northwestern.edu::1e897b35-0dd4-497a-9ab7-7a37e6c39d5b" providerId="AD" clId="Web-{65446D9D-2963-5F5B-42D7-65DD48F57406}" dt="2024-01-27T17:13:01.930" v="52"/>
        <pc:sldMkLst>
          <pc:docMk/>
          <pc:sldMk cId="3493254750" sldId="862"/>
        </pc:sldMkLst>
        <pc:spChg chg="add mod">
          <ac:chgData name="Kiela Karina Moreno" userId="S::mpg7143@ads.northwestern.edu::1e897b35-0dd4-497a-9ab7-7a37e6c39d5b" providerId="AD" clId="Web-{65446D9D-2963-5F5B-42D7-65DD48F57406}" dt="2024-01-27T17:13:01.930" v="52"/>
          <ac:spMkLst>
            <pc:docMk/>
            <pc:sldMk cId="3493254750" sldId="862"/>
            <ac:spMk id="4" creationId="{A97AA974-E89B-0209-DA04-AFBD2C3B79E7}"/>
          </ac:spMkLst>
        </pc:spChg>
      </pc:sldChg>
      <pc:sldChg chg="addSp modSp">
        <pc:chgData name="Kiela Karina Moreno" userId="S::mpg7143@ads.northwestern.edu::1e897b35-0dd4-497a-9ab7-7a37e6c39d5b" providerId="AD" clId="Web-{65446D9D-2963-5F5B-42D7-65DD48F57406}" dt="2024-01-27T17:12:21.256" v="45"/>
        <pc:sldMkLst>
          <pc:docMk/>
          <pc:sldMk cId="2616071266" sldId="863"/>
        </pc:sldMkLst>
        <pc:spChg chg="mod">
          <ac:chgData name="Kiela Karina Moreno" userId="S::mpg7143@ads.northwestern.edu::1e897b35-0dd4-497a-9ab7-7a37e6c39d5b" providerId="AD" clId="Web-{65446D9D-2963-5F5B-42D7-65DD48F57406}" dt="2024-01-27T16:58:09.254" v="4" actId="1076"/>
          <ac:spMkLst>
            <pc:docMk/>
            <pc:sldMk cId="2616071266" sldId="863"/>
            <ac:spMk id="48" creationId="{A1845571-50B3-5842-B49A-39B96E8EBEED}"/>
          </ac:spMkLst>
        </pc:spChg>
        <pc:spChg chg="add mod">
          <ac:chgData name="Kiela Karina Moreno" userId="S::mpg7143@ads.northwestern.edu::1e897b35-0dd4-497a-9ab7-7a37e6c39d5b" providerId="AD" clId="Web-{65446D9D-2963-5F5B-42D7-65DD48F57406}" dt="2024-01-27T17:12:21.256" v="45"/>
          <ac:spMkLst>
            <pc:docMk/>
            <pc:sldMk cId="2616071266" sldId="863"/>
            <ac:spMk id="49" creationId="{3DA5D461-B352-ED36-F24B-547BF405E0BC}"/>
          </ac:spMkLst>
        </pc:spChg>
      </pc:sldChg>
      <pc:sldChg chg="addSp modSp">
        <pc:chgData name="Kiela Karina Moreno" userId="S::mpg7143@ads.northwestern.edu::1e897b35-0dd4-497a-9ab7-7a37e6c39d5b" providerId="AD" clId="Web-{65446D9D-2963-5F5B-42D7-65DD48F57406}" dt="2024-01-27T17:12:31.382" v="46"/>
        <pc:sldMkLst>
          <pc:docMk/>
          <pc:sldMk cId="726365034" sldId="864"/>
        </pc:sldMkLst>
        <pc:spChg chg="add mod">
          <ac:chgData name="Kiela Karina Moreno" userId="S::mpg7143@ads.northwestern.edu::1e897b35-0dd4-497a-9ab7-7a37e6c39d5b" providerId="AD" clId="Web-{65446D9D-2963-5F5B-42D7-65DD48F57406}" dt="2024-01-27T17:12:31.382" v="46"/>
          <ac:spMkLst>
            <pc:docMk/>
            <pc:sldMk cId="726365034" sldId="864"/>
            <ac:spMk id="3" creationId="{15FDA696-83D9-E4ED-CA4A-7C25F7AC7762}"/>
          </ac:spMkLst>
        </pc:spChg>
      </pc:sldChg>
      <pc:sldChg chg="addSp delSp modSp">
        <pc:chgData name="Kiela Karina Moreno" userId="S::mpg7143@ads.northwestern.edu::1e897b35-0dd4-497a-9ab7-7a37e6c39d5b" providerId="AD" clId="Web-{65446D9D-2963-5F5B-42D7-65DD48F57406}" dt="2024-01-27T17:18:00.568" v="89"/>
        <pc:sldMkLst>
          <pc:docMk/>
          <pc:sldMk cId="2947401908" sldId="865"/>
        </pc:sldMkLst>
        <pc:picChg chg="add del mod">
          <ac:chgData name="Kiela Karina Moreno" userId="S::mpg7143@ads.northwestern.edu::1e897b35-0dd4-497a-9ab7-7a37e6c39d5b" providerId="AD" clId="Web-{65446D9D-2963-5F5B-42D7-65DD48F57406}" dt="2024-01-27T17:10:22.799" v="26"/>
          <ac:picMkLst>
            <pc:docMk/>
            <pc:sldMk cId="2947401908" sldId="865"/>
            <ac:picMk id="3" creationId="{42540CF1-EC73-B508-F48F-98DB99DEA292}"/>
          </ac:picMkLst>
        </pc:picChg>
        <pc:picChg chg="add mod">
          <ac:chgData name="Kiela Karina Moreno" userId="S::mpg7143@ads.northwestern.edu::1e897b35-0dd4-497a-9ab7-7a37e6c39d5b" providerId="AD" clId="Web-{65446D9D-2963-5F5B-42D7-65DD48F57406}" dt="2024-01-27T17:17:15.939" v="84" actId="1076"/>
          <ac:picMkLst>
            <pc:docMk/>
            <pc:sldMk cId="2947401908" sldId="865"/>
            <ac:picMk id="6" creationId="{DD93EB28-89D2-BF0A-D2EB-20AA3803138D}"/>
          </ac:picMkLst>
        </pc:picChg>
        <pc:picChg chg="add mod ord">
          <ac:chgData name="Kiela Karina Moreno" userId="S::mpg7143@ads.northwestern.edu::1e897b35-0dd4-497a-9ab7-7a37e6c39d5b" providerId="AD" clId="Web-{65446D9D-2963-5F5B-42D7-65DD48F57406}" dt="2024-01-27T17:18:00.568" v="89"/>
          <ac:picMkLst>
            <pc:docMk/>
            <pc:sldMk cId="2947401908" sldId="865"/>
            <ac:picMk id="7" creationId="{5DF407C2-305B-55CA-1BFB-EB360EC1C7A9}"/>
          </ac:picMkLst>
        </pc:picChg>
      </pc:sldChg>
      <pc:sldChg chg="modSp">
        <pc:chgData name="Kiela Karina Moreno" userId="S::mpg7143@ads.northwestern.edu::1e897b35-0dd4-497a-9ab7-7a37e6c39d5b" providerId="AD" clId="Web-{65446D9D-2963-5F5B-42D7-65DD48F57406}" dt="2024-01-27T17:26:59.057" v="150" actId="20577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65446D9D-2963-5F5B-42D7-65DD48F57406}" dt="2024-01-27T17:26:59.057" v="150" actId="20577"/>
          <ac:spMkLst>
            <pc:docMk/>
            <pc:sldMk cId="1914631794" sldId="866"/>
            <ac:spMk id="7" creationId="{A613F0CA-0B42-2365-025C-A56F8FFC9B87}"/>
          </ac:spMkLst>
        </pc:spChg>
      </pc:sldChg>
      <pc:sldChg chg="addSp modSp">
        <pc:chgData name="Kiela Karina Moreno" userId="S::mpg7143@ads.northwestern.edu::1e897b35-0dd4-497a-9ab7-7a37e6c39d5b" providerId="AD" clId="Web-{65446D9D-2963-5F5B-42D7-65DD48F57406}" dt="2024-01-27T17:13:04.946" v="53"/>
        <pc:sldMkLst>
          <pc:docMk/>
          <pc:sldMk cId="1548499057" sldId="867"/>
        </pc:sldMkLst>
        <pc:spChg chg="add mod">
          <ac:chgData name="Kiela Karina Moreno" userId="S::mpg7143@ads.northwestern.edu::1e897b35-0dd4-497a-9ab7-7a37e6c39d5b" providerId="AD" clId="Web-{65446D9D-2963-5F5B-42D7-65DD48F57406}" dt="2024-01-27T17:13:04.946" v="53"/>
          <ac:spMkLst>
            <pc:docMk/>
            <pc:sldMk cId="1548499057" sldId="867"/>
            <ac:spMk id="5" creationId="{2D4FF9EE-CA60-EF60-2539-95209B37945E}"/>
          </ac:spMkLst>
        </pc:spChg>
      </pc:sldChg>
    </pc:docChg>
  </pc:docChgLst>
  <pc:docChgLst>
    <pc:chgData name="Kiela Karina Moreno" userId="S::mpg7143@ads.northwestern.edu::1e897b35-0dd4-497a-9ab7-7a37e6c39d5b" providerId="AD" clId="Web-{42ECEA9A-143B-9DA2-163C-CFAA147C73C3}"/>
    <pc:docChg chg="">
      <pc:chgData name="Kiela Karina Moreno" userId="S::mpg7143@ads.northwestern.edu::1e897b35-0dd4-497a-9ab7-7a37e6c39d5b" providerId="AD" clId="Web-{42ECEA9A-143B-9DA2-163C-CFAA147C73C3}" dt="2024-07-11T17:03:20.563" v="56"/>
      <pc:docMkLst>
        <pc:docMk/>
      </pc:docMkLst>
    </pc:docChg>
  </pc:docChgLst>
  <pc:docChgLst>
    <pc:chgData name="Kiela Karina Moreno" userId="S::mpg7143@ads.northwestern.edu::1e897b35-0dd4-497a-9ab7-7a37e6c39d5b" providerId="AD" clId="Web-{9E9758B2-1507-82A4-5157-43D77CF64CFF}"/>
    <pc:docChg chg="modSld sldOrd">
      <pc:chgData name="Kiela Karina Moreno" userId="S::mpg7143@ads.northwestern.edu::1e897b35-0dd4-497a-9ab7-7a37e6c39d5b" providerId="AD" clId="Web-{9E9758B2-1507-82A4-5157-43D77CF64CFF}" dt="2024-02-13T16:02:14.533" v="2"/>
      <pc:docMkLst>
        <pc:docMk/>
      </pc:docMkLst>
      <pc:sldChg chg="delSp">
        <pc:chgData name="Kiela Karina Moreno" userId="S::mpg7143@ads.northwestern.edu::1e897b35-0dd4-497a-9ab7-7a37e6c39d5b" providerId="AD" clId="Web-{9E9758B2-1507-82A4-5157-43D77CF64CFF}" dt="2024-02-13T16:01:36.579" v="0"/>
        <pc:sldMkLst>
          <pc:docMk/>
          <pc:sldMk cId="3127921386" sldId="280"/>
        </pc:sldMkLst>
        <pc:spChg chg="del">
          <ac:chgData name="Kiela Karina Moreno" userId="S::mpg7143@ads.northwestern.edu::1e897b35-0dd4-497a-9ab7-7a37e6c39d5b" providerId="AD" clId="Web-{9E9758B2-1507-82A4-5157-43D77CF64CFF}" dt="2024-02-13T16:01:36.579" v="0"/>
          <ac:spMkLst>
            <pc:docMk/>
            <pc:sldMk cId="3127921386" sldId="280"/>
            <ac:spMk id="10" creationId="{BDFDA8B4-8D39-5B4D-3C3E-1144A20A36D2}"/>
          </ac:spMkLst>
        </pc:spChg>
      </pc:sldChg>
      <pc:sldChg chg="ord">
        <pc:chgData name="Kiela Karina Moreno" userId="S::mpg7143@ads.northwestern.edu::1e897b35-0dd4-497a-9ab7-7a37e6c39d5b" providerId="AD" clId="Web-{9E9758B2-1507-82A4-5157-43D77CF64CFF}" dt="2024-02-13T16:02:14.533" v="2"/>
        <pc:sldMkLst>
          <pc:docMk/>
          <pc:sldMk cId="2688480143" sldId="821"/>
        </pc:sldMkLst>
      </pc:sldChg>
    </pc:docChg>
  </pc:docChgLst>
  <pc:docChgLst>
    <pc:chgData name="Kiela Karina Moreno" userId="S::mpg7143@ads.northwestern.edu::1e897b35-0dd4-497a-9ab7-7a37e6c39d5b" providerId="AD" clId="Web-{294DDDC7-59D8-4868-B80D-D18AF55F2548}"/>
    <pc:docChg chg="modSld">
      <pc:chgData name="Kiela Karina Moreno" userId="S::mpg7143@ads.northwestern.edu::1e897b35-0dd4-497a-9ab7-7a37e6c39d5b" providerId="AD" clId="Web-{294DDDC7-59D8-4868-B80D-D18AF55F2548}" dt="2024-02-15T19:03:35.364" v="212" actId="14100"/>
      <pc:docMkLst>
        <pc:docMk/>
      </pc:docMkLst>
      <pc:sldChg chg="addSp modSp">
        <pc:chgData name="Kiela Karina Moreno" userId="S::mpg7143@ads.northwestern.edu::1e897b35-0dd4-497a-9ab7-7a37e6c39d5b" providerId="AD" clId="Web-{294DDDC7-59D8-4868-B80D-D18AF55F2548}" dt="2024-02-15T18:38:15.961" v="206" actId="1076"/>
        <pc:sldMkLst>
          <pc:docMk/>
          <pc:sldMk cId="3254557287" sldId="861"/>
        </pc:sldMkLst>
        <pc:picChg chg="add mod">
          <ac:chgData name="Kiela Karina Moreno" userId="S::mpg7143@ads.northwestern.edu::1e897b35-0dd4-497a-9ab7-7a37e6c39d5b" providerId="AD" clId="Web-{294DDDC7-59D8-4868-B80D-D18AF55F2548}" dt="2024-02-15T18:38:15.961" v="206" actId="1076"/>
          <ac:picMkLst>
            <pc:docMk/>
            <pc:sldMk cId="3254557287" sldId="861"/>
            <ac:picMk id="11" creationId="{7F301ACB-E1F4-AE71-96D6-B0EAAB86E897}"/>
          </ac:picMkLst>
        </pc:picChg>
      </pc:sldChg>
      <pc:sldChg chg="addSp modSp modCm">
        <pc:chgData name="Kiela Karina Moreno" userId="S::mpg7143@ads.northwestern.edu::1e897b35-0dd4-497a-9ab7-7a37e6c39d5b" providerId="AD" clId="Web-{294DDDC7-59D8-4868-B80D-D18AF55F2548}" dt="2024-02-15T18:41:58.688" v="208" actId="14100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294DDDC7-59D8-4868-B80D-D18AF55F2548}" dt="2024-02-15T18:37:30.021" v="203" actId="20577"/>
          <ac:spMkLst>
            <pc:docMk/>
            <pc:sldMk cId="1914631794" sldId="866"/>
            <ac:spMk id="3" creationId="{5EC312F1-9F6E-D473-207C-7D9046AEEDE1}"/>
          </ac:spMkLst>
        </pc:spChg>
        <pc:spChg chg="mod">
          <ac:chgData name="Kiela Karina Moreno" userId="S::mpg7143@ads.northwestern.edu::1e897b35-0dd4-497a-9ab7-7a37e6c39d5b" providerId="AD" clId="Web-{294DDDC7-59D8-4868-B80D-D18AF55F2548}" dt="2024-02-15T18:41:58.688" v="208" actId="14100"/>
          <ac:spMkLst>
            <pc:docMk/>
            <pc:sldMk cId="1914631794" sldId="866"/>
            <ac:spMk id="8" creationId="{E47F76B0-6B6E-EEFB-EB7C-CF553EF99CB9}"/>
          </ac:spMkLst>
        </pc:spChg>
        <pc:picChg chg="add mod ord">
          <ac:chgData name="Kiela Karina Moreno" userId="S::mpg7143@ads.northwestern.edu::1e897b35-0dd4-497a-9ab7-7a37e6c39d5b" providerId="AD" clId="Web-{294DDDC7-59D8-4868-B80D-D18AF55F2548}" dt="2024-02-15T18:37:16.115" v="201"/>
          <ac:picMkLst>
            <pc:docMk/>
            <pc:sldMk cId="1914631794" sldId="866"/>
            <ac:picMk id="5" creationId="{272F66D1-F206-2103-9ACB-0E023A19B50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iela Karina Moreno" userId="S::mpg7143@ads.northwestern.edu::1e897b35-0dd4-497a-9ab7-7a37e6c39d5b" providerId="AD" clId="Web-{294DDDC7-59D8-4868-B80D-D18AF55F2548}" dt="2024-02-15T18:27:01.075" v="114" actId="20577"/>
              <pc2:cmMkLst xmlns:pc2="http://schemas.microsoft.com/office/powerpoint/2019/9/main/command">
                <pc:docMk/>
                <pc:sldMk cId="1914631794" sldId="866"/>
                <pc2:cmMk id="{055220EF-C451-452D-B486-A3B69B6D5E9E}"/>
              </pc2:cmMkLst>
            </pc226:cmChg>
          </p:ext>
        </pc:extLst>
      </pc:sldChg>
      <pc:sldChg chg="modSp">
        <pc:chgData name="Kiela Karina Moreno" userId="S::mpg7143@ads.northwestern.edu::1e897b35-0dd4-497a-9ab7-7a37e6c39d5b" providerId="AD" clId="Web-{294DDDC7-59D8-4868-B80D-D18AF55F2548}" dt="2024-02-15T19:03:35.364" v="212" actId="14100"/>
        <pc:sldMkLst>
          <pc:docMk/>
          <pc:sldMk cId="1548499057" sldId="867"/>
        </pc:sldMkLst>
        <pc:spChg chg="mod">
          <ac:chgData name="Kiela Karina Moreno" userId="S::mpg7143@ads.northwestern.edu::1e897b35-0dd4-497a-9ab7-7a37e6c39d5b" providerId="AD" clId="Web-{294DDDC7-59D8-4868-B80D-D18AF55F2548}" dt="2024-02-15T19:03:35.364" v="212" actId="14100"/>
          <ac:spMkLst>
            <pc:docMk/>
            <pc:sldMk cId="1548499057" sldId="867"/>
            <ac:spMk id="3" creationId="{477DBB18-4ABA-5958-7B3D-1A4CBBA0F490}"/>
          </ac:spMkLst>
        </pc:spChg>
        <pc:spChg chg="mod">
          <ac:chgData name="Kiela Karina Moreno" userId="S::mpg7143@ads.northwestern.edu::1e897b35-0dd4-497a-9ab7-7a37e6c39d5b" providerId="AD" clId="Web-{294DDDC7-59D8-4868-B80D-D18AF55F2548}" dt="2024-02-15T19:03:31.067" v="211" actId="20577"/>
          <ac:spMkLst>
            <pc:docMk/>
            <pc:sldMk cId="1548499057" sldId="867"/>
            <ac:spMk id="4" creationId="{07482ACE-FF81-DCEB-B9A3-3AF8C8943F69}"/>
          </ac:spMkLst>
        </pc:spChg>
        <pc:picChg chg="mod">
          <ac:chgData name="Kiela Karina Moreno" userId="S::mpg7143@ads.northwestern.edu::1e897b35-0dd4-497a-9ab7-7a37e6c39d5b" providerId="AD" clId="Web-{294DDDC7-59D8-4868-B80D-D18AF55F2548}" dt="2024-02-15T18:37:57.976" v="204" actId="1076"/>
          <ac:picMkLst>
            <pc:docMk/>
            <pc:sldMk cId="1548499057" sldId="867"/>
            <ac:picMk id="6" creationId="{793CFA8E-DC2E-893A-6F99-216BEEE5FBE5}"/>
          </ac:picMkLst>
        </pc:picChg>
      </pc:sldChg>
      <pc:sldChg chg="addSp delSp">
        <pc:chgData name="Kiela Karina Moreno" userId="S::mpg7143@ads.northwestern.edu::1e897b35-0dd4-497a-9ab7-7a37e6c39d5b" providerId="AD" clId="Web-{294DDDC7-59D8-4868-B80D-D18AF55F2548}" dt="2024-02-15T18:43:01.878" v="210"/>
        <pc:sldMkLst>
          <pc:docMk/>
          <pc:sldMk cId="2919989900" sldId="881"/>
        </pc:sldMkLst>
        <pc:spChg chg="add del">
          <ac:chgData name="Kiela Karina Moreno" userId="S::mpg7143@ads.northwestern.edu::1e897b35-0dd4-497a-9ab7-7a37e6c39d5b" providerId="AD" clId="Web-{294DDDC7-59D8-4868-B80D-D18AF55F2548}" dt="2024-02-15T18:43:01.878" v="210"/>
          <ac:spMkLst>
            <pc:docMk/>
            <pc:sldMk cId="2919989900" sldId="881"/>
            <ac:spMk id="2" creationId="{529BCE8A-E863-EED1-2627-5BCC2DD8B6BE}"/>
          </ac:spMkLst>
        </pc:spChg>
      </pc:sldChg>
    </pc:docChg>
  </pc:docChgLst>
  <pc:docChgLst>
    <pc:chgData name="Kiela Karina Moreno" userId="S::mpg7143@ads.northwestern.edu::1e897b35-0dd4-497a-9ab7-7a37e6c39d5b" providerId="AD" clId="Web-{B9C7A1D0-EEBB-2D2E-2A2F-BE694F5C631D}"/>
    <pc:docChg chg="addSld sldOrd">
      <pc:chgData name="Kiela Karina Moreno" userId="S::mpg7143@ads.northwestern.edu::1e897b35-0dd4-497a-9ab7-7a37e6c39d5b" providerId="AD" clId="Web-{B9C7A1D0-EEBB-2D2E-2A2F-BE694F5C631D}" dt="2024-02-15T22:07:30.439" v="1"/>
      <pc:docMkLst>
        <pc:docMk/>
      </pc:docMkLst>
      <pc:sldChg chg="add ord">
        <pc:chgData name="Kiela Karina Moreno" userId="S::mpg7143@ads.northwestern.edu::1e897b35-0dd4-497a-9ab7-7a37e6c39d5b" providerId="AD" clId="Web-{B9C7A1D0-EEBB-2D2E-2A2F-BE694F5C631D}" dt="2024-02-15T22:07:30.439" v="1"/>
        <pc:sldMkLst>
          <pc:docMk/>
          <pc:sldMk cId="1134557211" sldId="885"/>
        </pc:sldMkLst>
      </pc:sldChg>
    </pc:docChg>
  </pc:docChgLst>
  <pc:docChgLst>
    <pc:chgData name="Alana Rivera" userId="S::arg3669@ads.northwestern.edu::fc8b707a-b7e9-4f2a-8d71-2d76819b7881" providerId="AD" clId="Web-{E8A4018D-E153-CE68-D2BE-1282D95FE451}"/>
    <pc:docChg chg="mod addSld delSld modSld sldOrd addMainMaster delMainMaster">
      <pc:chgData name="Alana Rivera" userId="S::arg3669@ads.northwestern.edu::fc8b707a-b7e9-4f2a-8d71-2d76819b7881" providerId="AD" clId="Web-{E8A4018D-E153-CE68-D2BE-1282D95FE451}" dt="2024-02-15T18:59:53.247" v="679"/>
      <pc:docMkLst>
        <pc:docMk/>
      </pc:docMkLst>
      <pc:sldChg chg="modSp">
        <pc:chgData name="Alana Rivera" userId="S::arg3669@ads.northwestern.edu::fc8b707a-b7e9-4f2a-8d71-2d76819b7881" providerId="AD" clId="Web-{E8A4018D-E153-CE68-D2BE-1282D95FE451}" dt="2024-02-15T18:19:32.413" v="530" actId="20577"/>
        <pc:sldMkLst>
          <pc:docMk/>
          <pc:sldMk cId="4044691067" sldId="283"/>
        </pc:sldMkLst>
        <pc:spChg chg="mod">
          <ac:chgData name="Alana Rivera" userId="S::arg3669@ads.northwestern.edu::fc8b707a-b7e9-4f2a-8d71-2d76819b7881" providerId="AD" clId="Web-{E8A4018D-E153-CE68-D2BE-1282D95FE451}" dt="2024-02-15T18:19:32.413" v="530" actId="20577"/>
          <ac:spMkLst>
            <pc:docMk/>
            <pc:sldMk cId="4044691067" sldId="283"/>
            <ac:spMk id="5" creationId="{F0B2A739-51C3-9CBF-7F6C-3EE69AAB6035}"/>
          </ac:spMkLst>
        </pc:spChg>
      </pc:sldChg>
      <pc:sldChg chg="modSp">
        <pc:chgData name="Alana Rivera" userId="S::arg3669@ads.northwestern.edu::fc8b707a-b7e9-4f2a-8d71-2d76819b7881" providerId="AD" clId="Web-{E8A4018D-E153-CE68-D2BE-1282D95FE451}" dt="2024-02-15T18:00:22.253" v="486" actId="14100"/>
        <pc:sldMkLst>
          <pc:docMk/>
          <pc:sldMk cId="807528301" sldId="787"/>
        </pc:sldMkLst>
        <pc:spChg chg="mod">
          <ac:chgData name="Alana Rivera" userId="S::arg3669@ads.northwestern.edu::fc8b707a-b7e9-4f2a-8d71-2d76819b7881" providerId="AD" clId="Web-{E8A4018D-E153-CE68-D2BE-1282D95FE451}" dt="2024-02-15T17:59:45.487" v="466" actId="1076"/>
          <ac:spMkLst>
            <pc:docMk/>
            <pc:sldMk cId="807528301" sldId="787"/>
            <ac:spMk id="2" creationId="{2B1CE8A8-2FF3-41D9-8EBB-20BAFAA12885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00:22.253" v="486" actId="14100"/>
          <ac:spMkLst>
            <pc:docMk/>
            <pc:sldMk cId="807528301" sldId="787"/>
            <ac:spMk id="9" creationId="{BB0710AF-590A-EC77-D10B-542B21941BBC}"/>
          </ac:spMkLst>
        </pc:spChg>
      </pc:sldChg>
      <pc:sldChg chg="modSp">
        <pc:chgData name="Alana Rivera" userId="S::arg3669@ads.northwestern.edu::fc8b707a-b7e9-4f2a-8d71-2d76819b7881" providerId="AD" clId="Web-{E8A4018D-E153-CE68-D2BE-1282D95FE451}" dt="2024-02-15T17:42:46.706" v="329" actId="20577"/>
        <pc:sldMkLst>
          <pc:docMk/>
          <pc:sldMk cId="2688480143" sldId="821"/>
        </pc:sldMkLst>
        <pc:spChg chg="mod">
          <ac:chgData name="Alana Rivera" userId="S::arg3669@ads.northwestern.edu::fc8b707a-b7e9-4f2a-8d71-2d76819b7881" providerId="AD" clId="Web-{E8A4018D-E153-CE68-D2BE-1282D95FE451}" dt="2024-02-15T17:42:46.706" v="329" actId="20577"/>
          <ac:spMkLst>
            <pc:docMk/>
            <pc:sldMk cId="2688480143" sldId="821"/>
            <ac:spMk id="12690" creationId="{00000000-0000-0000-0000-000000000000}"/>
          </ac:spMkLst>
        </pc:spChg>
      </pc:sldChg>
      <pc:sldChg chg="addSp modSp">
        <pc:chgData name="Alana Rivera" userId="S::arg3669@ads.northwestern.edu::fc8b707a-b7e9-4f2a-8d71-2d76819b7881" providerId="AD" clId="Web-{E8A4018D-E153-CE68-D2BE-1282D95FE451}" dt="2024-02-15T17:15:12.094" v="193" actId="20577"/>
        <pc:sldMkLst>
          <pc:docMk/>
          <pc:sldMk cId="1383153618" sldId="832"/>
        </pc:sldMkLst>
        <pc:spChg chg="mod">
          <ac:chgData name="Alana Rivera" userId="S::arg3669@ads.northwestern.edu::fc8b707a-b7e9-4f2a-8d71-2d76819b7881" providerId="AD" clId="Web-{E8A4018D-E153-CE68-D2BE-1282D95FE451}" dt="2024-02-15T17:15:12.094" v="193" actId="20577"/>
          <ac:spMkLst>
            <pc:docMk/>
            <pc:sldMk cId="1383153618" sldId="832"/>
            <ac:spMk id="3" creationId="{A8FB859F-8E0E-956F-2CC7-6B79360725AD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7:12:35.262" v="144" actId="14100"/>
          <ac:spMkLst>
            <pc:docMk/>
            <pc:sldMk cId="1383153618" sldId="832"/>
            <ac:spMk id="6" creationId="{3BEB7261-6CAD-A586-63E2-7EFA2E7C8857}"/>
          </ac:spMkLst>
        </pc:spChg>
        <pc:picChg chg="add mod">
          <ac:chgData name="Alana Rivera" userId="S::arg3669@ads.northwestern.edu::fc8b707a-b7e9-4f2a-8d71-2d76819b7881" providerId="AD" clId="Web-{E8A4018D-E153-CE68-D2BE-1282D95FE451}" dt="2024-02-15T17:12:38.777" v="145" actId="1076"/>
          <ac:picMkLst>
            <pc:docMk/>
            <pc:sldMk cId="1383153618" sldId="832"/>
            <ac:picMk id="5" creationId="{8B33EB59-604B-4C20-B41F-710AE570BE3B}"/>
          </ac:picMkLst>
        </pc:picChg>
      </pc:sldChg>
      <pc:sldChg chg="modSp">
        <pc:chgData name="Alana Rivera" userId="S::arg3669@ads.northwestern.edu::fc8b707a-b7e9-4f2a-8d71-2d76819b7881" providerId="AD" clId="Web-{E8A4018D-E153-CE68-D2BE-1282D95FE451}" dt="2024-02-15T17:09:55.163" v="94"/>
        <pc:sldMkLst>
          <pc:docMk/>
          <pc:sldMk cId="3117634655" sldId="845"/>
        </pc:sldMkLst>
        <pc:graphicFrameChg chg="mod modGraphic">
          <ac:chgData name="Alana Rivera" userId="S::arg3669@ads.northwestern.edu::fc8b707a-b7e9-4f2a-8d71-2d76819b7881" providerId="AD" clId="Web-{E8A4018D-E153-CE68-D2BE-1282D95FE451}" dt="2024-02-15T17:09:55.163" v="94"/>
          <ac:graphicFrameMkLst>
            <pc:docMk/>
            <pc:sldMk cId="3117634655" sldId="845"/>
            <ac:graphicFrameMk id="6" creationId="{3349F207-60F4-234D-4729-00A6824BBB25}"/>
          </ac:graphicFrameMkLst>
        </pc:graphicFrameChg>
      </pc:sldChg>
      <pc:sldChg chg="modSp">
        <pc:chgData name="Alana Rivera" userId="S::arg3669@ads.northwestern.edu::fc8b707a-b7e9-4f2a-8d71-2d76819b7881" providerId="AD" clId="Web-{E8A4018D-E153-CE68-D2BE-1282D95FE451}" dt="2024-02-15T17:10:24.633" v="101" actId="20577"/>
        <pc:sldMkLst>
          <pc:docMk/>
          <pc:sldMk cId="1663322964" sldId="846"/>
        </pc:sldMkLst>
        <pc:spChg chg="mod">
          <ac:chgData name="Alana Rivera" userId="S::arg3669@ads.northwestern.edu::fc8b707a-b7e9-4f2a-8d71-2d76819b7881" providerId="AD" clId="Web-{E8A4018D-E153-CE68-D2BE-1282D95FE451}" dt="2024-02-15T17:10:24.633" v="101" actId="20577"/>
          <ac:spMkLst>
            <pc:docMk/>
            <pc:sldMk cId="1663322964" sldId="846"/>
            <ac:spMk id="2" creationId="{00000000-0000-0000-0000-000000000000}"/>
          </ac:spMkLst>
        </pc:spChg>
        <pc:graphicFrameChg chg="mod">
          <ac:chgData name="Alana Rivera" userId="S::arg3669@ads.northwestern.edu::fc8b707a-b7e9-4f2a-8d71-2d76819b7881" providerId="AD" clId="Web-{E8A4018D-E153-CE68-D2BE-1282D95FE451}" dt="2024-02-15T17:10:11.976" v="96" actId="1076"/>
          <ac:graphicFrameMkLst>
            <pc:docMk/>
            <pc:sldMk cId="1663322964" sldId="846"/>
            <ac:graphicFrameMk id="124" creationId="{3315F4F4-9BD1-4A79-6FB8-D0E10F301094}"/>
          </ac:graphicFrameMkLst>
        </pc:graphicFrameChg>
        <pc:picChg chg="mod">
          <ac:chgData name="Alana Rivera" userId="S::arg3669@ads.northwestern.edu::fc8b707a-b7e9-4f2a-8d71-2d76819b7881" providerId="AD" clId="Web-{E8A4018D-E153-CE68-D2BE-1282D95FE451}" dt="2024-02-15T17:10:23.789" v="98" actId="1076"/>
          <ac:picMkLst>
            <pc:docMk/>
            <pc:sldMk cId="1663322964" sldId="846"/>
            <ac:picMk id="81" creationId="{146259C2-1FE7-2072-77C8-A281AF6D9AE9}"/>
          </ac:picMkLst>
        </pc:picChg>
        <pc:picChg chg="mod">
          <ac:chgData name="Alana Rivera" userId="S::arg3669@ads.northwestern.edu::fc8b707a-b7e9-4f2a-8d71-2d76819b7881" providerId="AD" clId="Web-{E8A4018D-E153-CE68-D2BE-1282D95FE451}" dt="2024-02-15T17:10:18.820" v="97" actId="1076"/>
          <ac:picMkLst>
            <pc:docMk/>
            <pc:sldMk cId="1663322964" sldId="846"/>
            <ac:picMk id="122" creationId="{DE6F542F-3C7A-9CB3-2F27-9A55C62DE245}"/>
          </ac:picMkLst>
        </pc:picChg>
      </pc:sldChg>
      <pc:sldChg chg="modSp">
        <pc:chgData name="Alana Rivera" userId="S::arg3669@ads.northwestern.edu::fc8b707a-b7e9-4f2a-8d71-2d76819b7881" providerId="AD" clId="Web-{E8A4018D-E153-CE68-D2BE-1282D95FE451}" dt="2024-02-15T17:17:28.098" v="224" actId="1076"/>
        <pc:sldMkLst>
          <pc:docMk/>
          <pc:sldMk cId="777023516" sldId="851"/>
        </pc:sldMkLst>
        <pc:spChg chg="mod">
          <ac:chgData name="Alana Rivera" userId="S::arg3669@ads.northwestern.edu::fc8b707a-b7e9-4f2a-8d71-2d76819b7881" providerId="AD" clId="Web-{E8A4018D-E153-CE68-D2BE-1282D95FE451}" dt="2024-02-15T17:17:22.739" v="223" actId="1076"/>
          <ac:spMkLst>
            <pc:docMk/>
            <pc:sldMk cId="777023516" sldId="851"/>
            <ac:spMk id="2" creationId="{9E8CD4B7-18A7-76E3-2CBA-3647A32E0C12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7:17:28.098" v="224" actId="1076"/>
          <ac:spMkLst>
            <pc:docMk/>
            <pc:sldMk cId="777023516" sldId="851"/>
            <ac:spMk id="3" creationId="{A068D812-8336-152D-B896-A021E583E31E}"/>
          </ac:spMkLst>
        </pc:spChg>
      </pc:sldChg>
      <pc:sldChg chg="modSp">
        <pc:chgData name="Alana Rivera" userId="S::arg3669@ads.northwestern.edu::fc8b707a-b7e9-4f2a-8d71-2d76819b7881" providerId="AD" clId="Web-{E8A4018D-E153-CE68-D2BE-1282D95FE451}" dt="2024-02-15T18:02:50.883" v="494" actId="1076"/>
        <pc:sldMkLst>
          <pc:docMk/>
          <pc:sldMk cId="1881092197" sldId="855"/>
        </pc:sldMkLst>
        <pc:spChg chg="mod">
          <ac:chgData name="Alana Rivera" userId="S::arg3669@ads.northwestern.edu::fc8b707a-b7e9-4f2a-8d71-2d76819b7881" providerId="AD" clId="Web-{E8A4018D-E153-CE68-D2BE-1282D95FE451}" dt="2024-02-15T18:02:40.570" v="493" actId="20577"/>
          <ac:spMkLst>
            <pc:docMk/>
            <pc:sldMk cId="1881092197" sldId="855"/>
            <ac:spMk id="3" creationId="{23C63934-04CC-F21C-59FC-C580A9F65EC3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02:50.883" v="494" actId="1076"/>
          <ac:spMkLst>
            <pc:docMk/>
            <pc:sldMk cId="1881092197" sldId="855"/>
            <ac:spMk id="9" creationId="{C850D7A8-6021-7083-F66D-8B12ADD8B461}"/>
          </ac:spMkLst>
        </pc:spChg>
      </pc:sldChg>
      <pc:sldChg chg="ord">
        <pc:chgData name="Alana Rivera" userId="S::arg3669@ads.northwestern.edu::fc8b707a-b7e9-4f2a-8d71-2d76819b7881" providerId="AD" clId="Web-{E8A4018D-E153-CE68-D2BE-1282D95FE451}" dt="2024-02-15T18:00:42.395" v="488"/>
        <pc:sldMkLst>
          <pc:docMk/>
          <pc:sldMk cId="2820585005" sldId="856"/>
        </pc:sldMkLst>
      </pc:sldChg>
      <pc:sldChg chg="modSp">
        <pc:chgData name="Alana Rivera" userId="S::arg3669@ads.northwestern.edu::fc8b707a-b7e9-4f2a-8d71-2d76819b7881" providerId="AD" clId="Web-{E8A4018D-E153-CE68-D2BE-1282D95FE451}" dt="2024-02-15T17:44:31.647" v="350" actId="20577"/>
        <pc:sldMkLst>
          <pc:docMk/>
          <pc:sldMk cId="1549817843" sldId="859"/>
        </pc:sldMkLst>
        <pc:spChg chg="mod">
          <ac:chgData name="Alana Rivera" userId="S::arg3669@ads.northwestern.edu::fc8b707a-b7e9-4f2a-8d71-2d76819b7881" providerId="AD" clId="Web-{E8A4018D-E153-CE68-D2BE-1282D95FE451}" dt="2024-02-15T17:44:31.647" v="350" actId="20577"/>
          <ac:spMkLst>
            <pc:docMk/>
            <pc:sldMk cId="1549817843" sldId="859"/>
            <ac:spMk id="3" creationId="{D1DF164C-6C8E-F933-CDE7-B27DEF5C5D66}"/>
          </ac:spMkLst>
        </pc:spChg>
      </pc:sldChg>
      <pc:sldChg chg="modSp">
        <pc:chgData name="Alana Rivera" userId="S::arg3669@ads.northwestern.edu::fc8b707a-b7e9-4f2a-8d71-2d76819b7881" providerId="AD" clId="Web-{E8A4018D-E153-CE68-D2BE-1282D95FE451}" dt="2024-02-15T17:44:38.428" v="351" actId="20577"/>
        <pc:sldMkLst>
          <pc:docMk/>
          <pc:sldMk cId="3358532880" sldId="860"/>
        </pc:sldMkLst>
        <pc:spChg chg="mod">
          <ac:chgData name="Alana Rivera" userId="S::arg3669@ads.northwestern.edu::fc8b707a-b7e9-4f2a-8d71-2d76819b7881" providerId="AD" clId="Web-{E8A4018D-E153-CE68-D2BE-1282D95FE451}" dt="2024-02-15T17:44:38.428" v="351" actId="20577"/>
          <ac:spMkLst>
            <pc:docMk/>
            <pc:sldMk cId="3358532880" sldId="860"/>
            <ac:spMk id="3" creationId="{915C96FB-CA3E-FB7D-FA87-C8B63F874A7E}"/>
          </ac:spMkLst>
        </pc:spChg>
        <pc:picChg chg="mod">
          <ac:chgData name="Alana Rivera" userId="S::arg3669@ads.northwestern.edu::fc8b707a-b7e9-4f2a-8d71-2d76819b7881" providerId="AD" clId="Web-{E8A4018D-E153-CE68-D2BE-1282D95FE451}" dt="2024-02-15T17:43:11.020" v="332" actId="14100"/>
          <ac:picMkLst>
            <pc:docMk/>
            <pc:sldMk cId="3358532880" sldId="860"/>
            <ac:picMk id="8" creationId="{6486A3DB-CA2B-7052-360C-64DBCA9F0A92}"/>
          </ac:picMkLst>
        </pc:picChg>
        <pc:picChg chg="mod">
          <ac:chgData name="Alana Rivera" userId="S::arg3669@ads.northwestern.edu::fc8b707a-b7e9-4f2a-8d71-2d76819b7881" providerId="AD" clId="Web-{E8A4018D-E153-CE68-D2BE-1282D95FE451}" dt="2024-02-15T17:43:57.771" v="341" actId="1076"/>
          <ac:picMkLst>
            <pc:docMk/>
            <pc:sldMk cId="3358532880" sldId="860"/>
            <ac:picMk id="9" creationId="{A389B444-3A7F-CA7D-21D3-8CFAC5169525}"/>
          </ac:picMkLst>
        </pc:picChg>
        <pc:picChg chg="mod">
          <ac:chgData name="Alana Rivera" userId="S::arg3669@ads.northwestern.edu::fc8b707a-b7e9-4f2a-8d71-2d76819b7881" providerId="AD" clId="Web-{E8A4018D-E153-CE68-D2BE-1282D95FE451}" dt="2024-02-15T17:43:29.458" v="337" actId="1076"/>
          <ac:picMkLst>
            <pc:docMk/>
            <pc:sldMk cId="3358532880" sldId="860"/>
            <ac:picMk id="10" creationId="{399102DC-10BB-3425-6E6A-162EEF0D99FE}"/>
          </ac:picMkLst>
        </pc:picChg>
      </pc:sldChg>
      <pc:sldChg chg="modSp">
        <pc:chgData name="Alana Rivera" userId="S::arg3669@ads.northwestern.edu::fc8b707a-b7e9-4f2a-8d71-2d76819b7881" providerId="AD" clId="Web-{E8A4018D-E153-CE68-D2BE-1282D95FE451}" dt="2024-02-15T17:44:44.851" v="355" actId="20577"/>
        <pc:sldMkLst>
          <pc:docMk/>
          <pc:sldMk cId="3254557287" sldId="861"/>
        </pc:sldMkLst>
        <pc:spChg chg="mod">
          <ac:chgData name="Alana Rivera" userId="S::arg3669@ads.northwestern.edu::fc8b707a-b7e9-4f2a-8d71-2d76819b7881" providerId="AD" clId="Web-{E8A4018D-E153-CE68-D2BE-1282D95FE451}" dt="2024-02-15T17:44:44.851" v="355" actId="20577"/>
          <ac:spMkLst>
            <pc:docMk/>
            <pc:sldMk cId="3254557287" sldId="861"/>
            <ac:spMk id="3" creationId="{B5CF8736-CF94-7C4E-D38E-73EDEAE3BE52}"/>
          </ac:spMkLst>
        </pc:spChg>
      </pc:sldChg>
      <pc:sldChg chg="modSp">
        <pc:chgData name="Alana Rivera" userId="S::arg3669@ads.northwestern.edu::fc8b707a-b7e9-4f2a-8d71-2d76819b7881" providerId="AD" clId="Web-{E8A4018D-E153-CE68-D2BE-1282D95FE451}" dt="2024-02-15T17:55:16.291" v="431" actId="20577"/>
        <pc:sldMkLst>
          <pc:docMk/>
          <pc:sldMk cId="2947401908" sldId="865"/>
        </pc:sldMkLst>
        <pc:spChg chg="mod">
          <ac:chgData name="Alana Rivera" userId="S::arg3669@ads.northwestern.edu::fc8b707a-b7e9-4f2a-8d71-2d76819b7881" providerId="AD" clId="Web-{E8A4018D-E153-CE68-D2BE-1282D95FE451}" dt="2024-02-15T17:55:16.291" v="431" actId="20577"/>
          <ac:spMkLst>
            <pc:docMk/>
            <pc:sldMk cId="2947401908" sldId="865"/>
            <ac:spMk id="2" creationId="{3DDA825D-4829-111F-EAFA-DD3F2F2D6B3C}"/>
          </ac:spMkLst>
        </pc:spChg>
      </pc:sldChg>
      <pc:sldChg chg="addSp delSp modSp mod modClrScheme addCm chgLayout modNotes">
        <pc:chgData name="Alana Rivera" userId="S::arg3669@ads.northwestern.edu::fc8b707a-b7e9-4f2a-8d71-2d76819b7881" providerId="AD" clId="Web-{E8A4018D-E153-CE68-D2BE-1282D95FE451}" dt="2024-02-15T18:12:53.963" v="514" actId="20577"/>
        <pc:sldMkLst>
          <pc:docMk/>
          <pc:sldMk cId="1914631794" sldId="866"/>
        </pc:sldMkLst>
        <pc:spChg chg="mod ord">
          <ac:chgData name="Alana Rivera" userId="S::arg3669@ads.northwestern.edu::fc8b707a-b7e9-4f2a-8d71-2d76819b7881" providerId="AD" clId="Web-{E8A4018D-E153-CE68-D2BE-1282D95FE451}" dt="2024-02-15T18:12:38.791" v="503" actId="20577"/>
          <ac:spMkLst>
            <pc:docMk/>
            <pc:sldMk cId="1914631794" sldId="866"/>
            <ac:spMk id="2" creationId="{B8576EA4-3DF4-E9A6-5CD8-6AB4F95F4CBD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12:53.963" v="514" actId="20577"/>
          <ac:spMkLst>
            <pc:docMk/>
            <pc:sldMk cId="1914631794" sldId="866"/>
            <ac:spMk id="3" creationId="{5EC312F1-9F6E-D473-207C-7D9046AEEDE1}"/>
          </ac:spMkLst>
        </pc:spChg>
        <pc:spChg chg="mod ord">
          <ac:chgData name="Alana Rivera" userId="S::arg3669@ads.northwestern.edu::fc8b707a-b7e9-4f2a-8d71-2d76819b7881" providerId="AD" clId="Web-{E8A4018D-E153-CE68-D2BE-1282D95FE451}" dt="2024-02-15T17:33:22.236" v="276"/>
          <ac:spMkLst>
            <pc:docMk/>
            <pc:sldMk cId="1914631794" sldId="866"/>
            <ac:spMk id="4" creationId="{B3ACD7C8-CBC2-44BB-21D9-5EBD997FCE75}"/>
          </ac:spMkLst>
        </pc:spChg>
        <pc:spChg chg="del">
          <ac:chgData name="Alana Rivera" userId="S::arg3669@ads.northwestern.edu::fc8b707a-b7e9-4f2a-8d71-2d76819b7881" providerId="AD" clId="Web-{E8A4018D-E153-CE68-D2BE-1282D95FE451}" dt="2024-02-15T17:30:40.810" v="273"/>
          <ac:spMkLst>
            <pc:docMk/>
            <pc:sldMk cId="1914631794" sldId="866"/>
            <ac:spMk id="5" creationId="{F3E514EC-6A06-92ED-C74D-310EDB233E82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09:49.380" v="499" actId="1076"/>
          <ac:spMkLst>
            <pc:docMk/>
            <pc:sldMk cId="1914631794" sldId="866"/>
            <ac:spMk id="8" creationId="{E47F76B0-6B6E-EEFB-EB7C-CF553EF99CB9}"/>
          </ac:spMkLst>
        </pc:spChg>
        <pc:spChg chg="add del mod ord">
          <ac:chgData name="Alana Rivera" userId="S::arg3669@ads.northwestern.edu::fc8b707a-b7e9-4f2a-8d71-2d76819b7881" providerId="AD" clId="Web-{E8A4018D-E153-CE68-D2BE-1282D95FE451}" dt="2024-02-15T17:35:27.334" v="279"/>
          <ac:spMkLst>
            <pc:docMk/>
            <pc:sldMk cId="1914631794" sldId="866"/>
            <ac:spMk id="13" creationId="{45053550-3CE3-97F7-1853-E429A06AF7D5}"/>
          </ac:spMkLst>
        </pc:spChg>
        <pc:spChg chg="add mod ord">
          <ac:chgData name="Alana Rivera" userId="S::arg3669@ads.northwestern.edu::fc8b707a-b7e9-4f2a-8d71-2d76819b7881" providerId="AD" clId="Web-{E8A4018D-E153-CE68-D2BE-1282D95FE451}" dt="2024-02-15T17:36:18.601" v="286"/>
          <ac:spMkLst>
            <pc:docMk/>
            <pc:sldMk cId="1914631794" sldId="866"/>
            <ac:spMk id="14" creationId="{C5EE3321-8226-E827-531A-51EDF42A1DE9}"/>
          </ac:spMkLst>
        </pc:spChg>
        <pc:picChg chg="add mod">
          <ac:chgData name="Alana Rivera" userId="S::arg3669@ads.northwestern.edu::fc8b707a-b7e9-4f2a-8d71-2d76819b7881" providerId="AD" clId="Web-{E8A4018D-E153-CE68-D2BE-1282D95FE451}" dt="2024-02-15T17:30:14.731" v="268" actId="1076"/>
          <ac:picMkLst>
            <pc:docMk/>
            <pc:sldMk cId="1914631794" sldId="866"/>
            <ac:picMk id="6" creationId="{170DA514-D401-ABBC-10A2-D18AFAD15C5C}"/>
          </ac:picMkLst>
        </pc:picChg>
        <pc:picChg chg="add mod ord">
          <ac:chgData name="Alana Rivera" userId="S::arg3669@ads.northwestern.edu::fc8b707a-b7e9-4f2a-8d71-2d76819b7881" providerId="AD" clId="Web-{E8A4018D-E153-CE68-D2BE-1282D95FE451}" dt="2024-02-15T17:29:55.386" v="264" actId="1076"/>
          <ac:picMkLst>
            <pc:docMk/>
            <pc:sldMk cId="1914631794" sldId="866"/>
            <ac:picMk id="10" creationId="{BDE4C097-FD45-67E2-FE8B-F7BEBC591BB1}"/>
          </ac:picMkLst>
        </pc:picChg>
        <pc:picChg chg="mod">
          <ac:chgData name="Alana Rivera" userId="S::arg3669@ads.northwestern.edu::fc8b707a-b7e9-4f2a-8d71-2d76819b7881" providerId="AD" clId="Web-{E8A4018D-E153-CE68-D2BE-1282D95FE451}" dt="2024-02-15T17:35:46.084" v="282" actId="1076"/>
          <ac:picMkLst>
            <pc:docMk/>
            <pc:sldMk cId="1914631794" sldId="866"/>
            <ac:picMk id="11" creationId="{5805DF79-E645-A5A2-5559-A460AAA4DE6D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7:36:38.680" v="289" actId="14100"/>
          <ac:picMkLst>
            <pc:docMk/>
            <pc:sldMk cId="1914631794" sldId="866"/>
            <ac:picMk id="12" creationId="{D0F136A7-8CA4-9FA5-BDF5-0EF84222BB2B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E8A4018D-E153-CE68-D2BE-1282D95FE451}" dt="2024-02-15T17:36:56.477" v="291"/>
              <pc2:cmMkLst xmlns:pc2="http://schemas.microsoft.com/office/powerpoint/2019/9/main/command">
                <pc:docMk/>
                <pc:sldMk cId="1914631794" sldId="866"/>
                <pc2:cmMk id="{055220EF-C451-452D-B486-A3B69B6D5E9E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E8A4018D-E153-CE68-D2BE-1282D95FE451}" dt="2024-02-15T18:06:59.609" v="498"/>
        <pc:sldMkLst>
          <pc:docMk/>
          <pc:sldMk cId="1548499057" sldId="867"/>
        </pc:sldMkLst>
        <pc:spChg chg="mod">
          <ac:chgData name="Alana Rivera" userId="S::arg3669@ads.northwestern.edu::fc8b707a-b7e9-4f2a-8d71-2d76819b7881" providerId="AD" clId="Web-{E8A4018D-E153-CE68-D2BE-1282D95FE451}" dt="2024-02-15T18:06:59.609" v="498"/>
          <ac:spMkLst>
            <pc:docMk/>
            <pc:sldMk cId="1548499057" sldId="867"/>
            <ac:spMk id="3" creationId="{477DBB18-4ABA-5958-7B3D-1A4CBBA0F490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00:32.597" v="487" actId="1076"/>
          <ac:spMkLst>
            <pc:docMk/>
            <pc:sldMk cId="1548499057" sldId="867"/>
            <ac:spMk id="4" creationId="{07482ACE-FF81-DCEB-B9A3-3AF8C8943F69}"/>
          </ac:spMkLst>
        </pc:spChg>
      </pc:sldChg>
      <pc:sldChg chg="addSp modSp">
        <pc:chgData name="Alana Rivera" userId="S::arg3669@ads.northwestern.edu::fc8b707a-b7e9-4f2a-8d71-2d76819b7881" providerId="AD" clId="Web-{E8A4018D-E153-CE68-D2BE-1282D95FE451}" dt="2024-02-15T18:14:05.340" v="515" actId="1076"/>
        <pc:sldMkLst>
          <pc:docMk/>
          <pc:sldMk cId="927158119" sldId="868"/>
        </pc:sldMkLst>
        <pc:spChg chg="add mod">
          <ac:chgData name="Alana Rivera" userId="S::arg3669@ads.northwestern.edu::fc8b707a-b7e9-4f2a-8d71-2d76819b7881" providerId="AD" clId="Web-{E8A4018D-E153-CE68-D2BE-1282D95FE451}" dt="2024-02-15T18:14:05.340" v="515" actId="1076"/>
          <ac:spMkLst>
            <pc:docMk/>
            <pc:sldMk cId="927158119" sldId="868"/>
            <ac:spMk id="6" creationId="{FBDE5B1C-7856-EC3C-F8AA-A500DCDB2145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7:49:30.281" v="363" actId="1076"/>
          <ac:spMkLst>
            <pc:docMk/>
            <pc:sldMk cId="927158119" sldId="868"/>
            <ac:spMk id="7" creationId="{BF44033D-ACF7-8562-F830-AB48D630D668}"/>
          </ac:spMkLst>
        </pc:spChg>
        <pc:spChg chg="add mod">
          <ac:chgData name="Alana Rivera" userId="S::arg3669@ads.northwestern.edu::fc8b707a-b7e9-4f2a-8d71-2d76819b7881" providerId="AD" clId="Web-{E8A4018D-E153-CE68-D2BE-1282D95FE451}" dt="2024-02-15T17:51:23.722" v="384" actId="1076"/>
          <ac:spMkLst>
            <pc:docMk/>
            <pc:sldMk cId="927158119" sldId="868"/>
            <ac:spMk id="8" creationId="{7AC0CF88-40D8-2382-5673-312DE33B2637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7:51:53.504" v="388" actId="1076"/>
          <ac:spMkLst>
            <pc:docMk/>
            <pc:sldMk cId="927158119" sldId="868"/>
            <ac:spMk id="11" creationId="{9F9FF554-DE24-E3F9-4A31-4BD1A14B5871}"/>
          </ac:spMkLst>
        </pc:spChg>
        <pc:picChg chg="add mod">
          <ac:chgData name="Alana Rivera" userId="S::arg3669@ads.northwestern.edu::fc8b707a-b7e9-4f2a-8d71-2d76819b7881" providerId="AD" clId="Web-{E8A4018D-E153-CE68-D2BE-1282D95FE451}" dt="2024-02-15T17:50:42.314" v="376" actId="1076"/>
          <ac:picMkLst>
            <pc:docMk/>
            <pc:sldMk cId="927158119" sldId="868"/>
            <ac:picMk id="3" creationId="{85868828-9DD1-9466-3A3B-3C204760043D}"/>
          </ac:picMkLst>
        </pc:picChg>
        <pc:picChg chg="add mod ord">
          <ac:chgData name="Alana Rivera" userId="S::arg3669@ads.northwestern.edu::fc8b707a-b7e9-4f2a-8d71-2d76819b7881" providerId="AD" clId="Web-{E8A4018D-E153-CE68-D2BE-1282D95FE451}" dt="2024-02-15T17:52:01.910" v="389" actId="14100"/>
          <ac:picMkLst>
            <pc:docMk/>
            <pc:sldMk cId="927158119" sldId="868"/>
            <ac:picMk id="5" creationId="{F63664A2-141E-CC71-2E7C-CDE9A203280A}"/>
          </ac:picMkLst>
        </pc:picChg>
        <pc:picChg chg="mod">
          <ac:chgData name="Alana Rivera" userId="S::arg3669@ads.northwestern.edu::fc8b707a-b7e9-4f2a-8d71-2d76819b7881" providerId="AD" clId="Web-{E8A4018D-E153-CE68-D2BE-1282D95FE451}" dt="2024-02-15T17:51:45.722" v="387" actId="1076"/>
          <ac:picMkLst>
            <pc:docMk/>
            <pc:sldMk cId="927158119" sldId="868"/>
            <ac:picMk id="9" creationId="{72874926-BC85-B71F-75BA-248AA4B55151}"/>
          </ac:picMkLst>
        </pc:picChg>
      </pc:sldChg>
      <pc:sldChg chg="modSp addCm">
        <pc:chgData name="Alana Rivera" userId="S::arg3669@ads.northwestern.edu::fc8b707a-b7e9-4f2a-8d71-2d76819b7881" providerId="AD" clId="Web-{E8A4018D-E153-CE68-D2BE-1282D95FE451}" dt="2024-02-15T18:04:19.714" v="497"/>
        <pc:sldMkLst>
          <pc:docMk/>
          <pc:sldMk cId="2762163785" sldId="871"/>
        </pc:sldMkLst>
        <pc:spChg chg="mod">
          <ac:chgData name="Alana Rivera" userId="S::arg3669@ads.northwestern.edu::fc8b707a-b7e9-4f2a-8d71-2d76819b7881" providerId="AD" clId="Web-{E8A4018D-E153-CE68-D2BE-1282D95FE451}" dt="2024-02-15T18:02:55.789" v="496" actId="20577"/>
          <ac:spMkLst>
            <pc:docMk/>
            <pc:sldMk cId="2762163785" sldId="871"/>
            <ac:spMk id="6" creationId="{AF9017BA-C0A8-6BEE-2C56-82860CA64E5C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E8A4018D-E153-CE68-D2BE-1282D95FE451}" dt="2024-02-15T18:04:19.714" v="497"/>
              <pc2:cmMkLst xmlns:pc2="http://schemas.microsoft.com/office/powerpoint/2019/9/main/command">
                <pc:docMk/>
                <pc:sldMk cId="2762163785" sldId="871"/>
                <pc2:cmMk id="{85F21DAC-FF06-48D7-8B0B-C8A5023DD6B3}"/>
              </pc2:cmMkLst>
            </pc226:cmChg>
          </p:ext>
        </pc:extLst>
      </pc:sldChg>
      <pc:sldChg chg="delSp modSp">
        <pc:chgData name="Alana Rivera" userId="S::arg3669@ads.northwestern.edu::fc8b707a-b7e9-4f2a-8d71-2d76819b7881" providerId="AD" clId="Web-{E8A4018D-E153-CE68-D2BE-1282D95FE451}" dt="2024-02-15T18:14:55.889" v="516" actId="1076"/>
        <pc:sldMkLst>
          <pc:docMk/>
          <pc:sldMk cId="2503595924" sldId="873"/>
        </pc:sldMkLst>
        <pc:spChg chg="mod">
          <ac:chgData name="Alana Rivera" userId="S::arg3669@ads.northwestern.edu::fc8b707a-b7e9-4f2a-8d71-2d76819b7881" providerId="AD" clId="Web-{E8A4018D-E153-CE68-D2BE-1282D95FE451}" dt="2024-02-15T17:58:15.312" v="459" actId="20577"/>
          <ac:spMkLst>
            <pc:docMk/>
            <pc:sldMk cId="2503595924" sldId="873"/>
            <ac:spMk id="6" creationId="{3BAEDEA5-EBC0-20F3-5139-AA49CBA25633}"/>
          </ac:spMkLst>
        </pc:spChg>
        <pc:picChg chg="mod">
          <ac:chgData name="Alana Rivera" userId="S::arg3669@ads.northwestern.edu::fc8b707a-b7e9-4f2a-8d71-2d76819b7881" providerId="AD" clId="Web-{E8A4018D-E153-CE68-D2BE-1282D95FE451}" dt="2024-02-15T18:14:55.889" v="516" actId="1076"/>
          <ac:picMkLst>
            <pc:docMk/>
            <pc:sldMk cId="2503595924" sldId="873"/>
            <ac:picMk id="4" creationId="{EBF9B272-AEE4-9141-39AB-699D3D5A72F2}"/>
          </ac:picMkLst>
        </pc:picChg>
        <pc:picChg chg="del mod">
          <ac:chgData name="Alana Rivera" userId="S::arg3669@ads.northwestern.edu::fc8b707a-b7e9-4f2a-8d71-2d76819b7881" providerId="AD" clId="Web-{E8A4018D-E153-CE68-D2BE-1282D95FE451}" dt="2024-02-15T17:58:19.406" v="461"/>
          <ac:picMkLst>
            <pc:docMk/>
            <pc:sldMk cId="2503595924" sldId="873"/>
            <ac:picMk id="5" creationId="{95020045-F97B-E764-F49B-14AEB3152CCE}"/>
          </ac:picMkLst>
        </pc:picChg>
      </pc:sldChg>
      <pc:sldChg chg="modSp">
        <pc:chgData name="Alana Rivera" userId="S::arg3669@ads.northwestern.edu::fc8b707a-b7e9-4f2a-8d71-2d76819b7881" providerId="AD" clId="Web-{E8A4018D-E153-CE68-D2BE-1282D95FE451}" dt="2024-02-15T17:19:29.899" v="228" actId="20577"/>
        <pc:sldMkLst>
          <pc:docMk/>
          <pc:sldMk cId="3352784023" sldId="874"/>
        </pc:sldMkLst>
        <pc:graphicFrameChg chg="modGraphic">
          <ac:chgData name="Alana Rivera" userId="S::arg3669@ads.northwestern.edu::fc8b707a-b7e9-4f2a-8d71-2d76819b7881" providerId="AD" clId="Web-{E8A4018D-E153-CE68-D2BE-1282D95FE451}" dt="2024-02-15T17:19:29.899" v="228" actId="20577"/>
          <ac:graphicFrameMkLst>
            <pc:docMk/>
            <pc:sldMk cId="3352784023" sldId="874"/>
            <ac:graphicFrameMk id="7" creationId="{D6C0E3B9-AD38-3062-92BA-93FBC89260BC}"/>
          </ac:graphicFrameMkLst>
        </pc:graphicFrameChg>
      </pc:sldChg>
      <pc:sldChg chg="addSp delSp modSp">
        <pc:chgData name="Alana Rivera" userId="S::arg3669@ads.northwestern.edu::fc8b707a-b7e9-4f2a-8d71-2d76819b7881" providerId="AD" clId="Web-{E8A4018D-E153-CE68-D2BE-1282D95FE451}" dt="2024-02-15T18:45:18.048" v="533"/>
        <pc:sldMkLst>
          <pc:docMk/>
          <pc:sldMk cId="1848458524" sldId="875"/>
        </pc:sldMkLst>
        <pc:picChg chg="add del mod">
          <ac:chgData name="Alana Rivera" userId="S::arg3669@ads.northwestern.edu::fc8b707a-b7e9-4f2a-8d71-2d76819b7881" providerId="AD" clId="Web-{E8A4018D-E153-CE68-D2BE-1282D95FE451}" dt="2024-02-15T18:45:18.048" v="533"/>
          <ac:picMkLst>
            <pc:docMk/>
            <pc:sldMk cId="1848458524" sldId="875"/>
            <ac:picMk id="3" creationId="{84613E61-4A90-326D-CDFB-38B4EC9C88F3}"/>
          </ac:picMkLst>
        </pc:picChg>
      </pc:sldChg>
      <pc:sldChg chg="modSp">
        <pc:chgData name="Alana Rivera" userId="S::arg3669@ads.northwestern.edu::fc8b707a-b7e9-4f2a-8d71-2d76819b7881" providerId="AD" clId="Web-{E8A4018D-E153-CE68-D2BE-1282D95FE451}" dt="2024-02-15T17:59:45.346" v="465" actId="20577"/>
        <pc:sldMkLst>
          <pc:docMk/>
          <pc:sldMk cId="1858777902" sldId="877"/>
        </pc:sldMkLst>
        <pc:spChg chg="mod">
          <ac:chgData name="Alana Rivera" userId="S::arg3669@ads.northwestern.edu::fc8b707a-b7e9-4f2a-8d71-2d76819b7881" providerId="AD" clId="Web-{E8A4018D-E153-CE68-D2BE-1282D95FE451}" dt="2024-02-15T17:59:45.346" v="465" actId="20577"/>
          <ac:spMkLst>
            <pc:docMk/>
            <pc:sldMk cId="1858777902" sldId="877"/>
            <ac:spMk id="14" creationId="{0AF4C527-3F15-CC2E-8B93-84E572FC6D32}"/>
          </ac:spMkLst>
        </pc:spChg>
      </pc:sldChg>
      <pc:sldChg chg="modSp add replId">
        <pc:chgData name="Alana Rivera" userId="S::arg3669@ads.northwestern.edu::fc8b707a-b7e9-4f2a-8d71-2d76819b7881" providerId="AD" clId="Web-{E8A4018D-E153-CE68-D2BE-1282D95FE451}" dt="2024-02-15T17:19:29.321" v="227" actId="20577"/>
        <pc:sldMkLst>
          <pc:docMk/>
          <pc:sldMk cId="1991711117" sldId="879"/>
        </pc:sldMkLst>
        <pc:spChg chg="mod">
          <ac:chgData name="Alana Rivera" userId="S::arg3669@ads.northwestern.edu::fc8b707a-b7e9-4f2a-8d71-2d76819b7881" providerId="AD" clId="Web-{E8A4018D-E153-CE68-D2BE-1282D95FE451}" dt="2024-02-15T17:18:02.099" v="226" actId="20577"/>
          <ac:spMkLst>
            <pc:docMk/>
            <pc:sldMk cId="1991711117" sldId="879"/>
            <ac:spMk id="4" creationId="{72BFD39A-017D-DA82-0009-376839B3F9A9}"/>
          </ac:spMkLst>
        </pc:spChg>
        <pc:graphicFrameChg chg="modGraphic">
          <ac:chgData name="Alana Rivera" userId="S::arg3669@ads.northwestern.edu::fc8b707a-b7e9-4f2a-8d71-2d76819b7881" providerId="AD" clId="Web-{E8A4018D-E153-CE68-D2BE-1282D95FE451}" dt="2024-02-15T17:19:29.321" v="227" actId="20577"/>
          <ac:graphicFrameMkLst>
            <pc:docMk/>
            <pc:sldMk cId="1991711117" sldId="879"/>
            <ac:graphicFrameMk id="7" creationId="{D6C0E3B9-AD38-3062-92BA-93FBC89260BC}"/>
          </ac:graphicFrameMkLst>
        </pc:graphicFrameChg>
      </pc:sldChg>
      <pc:sldChg chg="add">
        <pc:chgData name="Alana Rivera" userId="S::arg3669@ads.northwestern.edu::fc8b707a-b7e9-4f2a-8d71-2d76819b7881" providerId="AD" clId="Web-{E8A4018D-E153-CE68-D2BE-1282D95FE451}" dt="2024-02-15T17:20:28.276" v="229"/>
        <pc:sldMkLst>
          <pc:docMk/>
          <pc:sldMk cId="1514756035" sldId="880"/>
        </pc:sldMkLst>
      </pc:sldChg>
      <pc:sldChg chg="addSp delSp modSp new mod setBg modClrScheme chgLayout">
        <pc:chgData name="Alana Rivera" userId="S::arg3669@ads.northwestern.edu::fc8b707a-b7e9-4f2a-8d71-2d76819b7881" providerId="AD" clId="Web-{E8A4018D-E153-CE68-D2BE-1282D95FE451}" dt="2024-02-15T17:42:06.205" v="327"/>
        <pc:sldMkLst>
          <pc:docMk/>
          <pc:sldMk cId="2919989900" sldId="881"/>
        </pc:sldMkLst>
        <pc:spChg chg="mod ord">
          <ac:chgData name="Alana Rivera" userId="S::arg3669@ads.northwestern.edu::fc8b707a-b7e9-4f2a-8d71-2d76819b7881" providerId="AD" clId="Web-{E8A4018D-E153-CE68-D2BE-1282D95FE451}" dt="2024-02-15T17:41:34.814" v="322" actId="1076"/>
          <ac:spMkLst>
            <pc:docMk/>
            <pc:sldMk cId="2919989900" sldId="881"/>
            <ac:spMk id="2" creationId="{529BCE8A-E863-EED1-2627-5BCC2DD8B6BE}"/>
          </ac:spMkLst>
        </pc:spChg>
        <pc:spChg chg="del mod ord">
          <ac:chgData name="Alana Rivera" userId="S::arg3669@ads.northwestern.edu::fc8b707a-b7e9-4f2a-8d71-2d76819b7881" providerId="AD" clId="Web-{E8A4018D-E153-CE68-D2BE-1282D95FE451}" dt="2024-02-15T17:37:39.182" v="296"/>
          <ac:spMkLst>
            <pc:docMk/>
            <pc:sldMk cId="2919989900" sldId="881"/>
            <ac:spMk id="3" creationId="{8F598B56-9C85-1A26-673F-277EF2595A57}"/>
          </ac:spMkLst>
        </pc:spChg>
        <pc:spChg chg="add mod">
          <ac:chgData name="Alana Rivera" userId="S::arg3669@ads.northwestern.edu::fc8b707a-b7e9-4f2a-8d71-2d76819b7881" providerId="AD" clId="Web-{E8A4018D-E153-CE68-D2BE-1282D95FE451}" dt="2024-02-15T17:42:06.205" v="327"/>
          <ac:spMkLst>
            <pc:docMk/>
            <pc:sldMk cId="2919989900" sldId="881"/>
            <ac:spMk id="7" creationId="{1D38E8C9-ED3B-7236-E04A-E081CCB9A216}"/>
          </ac:spMkLst>
        </pc:spChg>
        <pc:spChg chg="add del">
          <ac:chgData name="Alana Rivera" userId="S::arg3669@ads.northwestern.edu::fc8b707a-b7e9-4f2a-8d71-2d76819b7881" providerId="AD" clId="Web-{E8A4018D-E153-CE68-D2BE-1282D95FE451}" dt="2024-02-15T17:40:15.436" v="310"/>
          <ac:spMkLst>
            <pc:docMk/>
            <pc:sldMk cId="2919989900" sldId="881"/>
            <ac:spMk id="10" creationId="{022BDE4A-8A20-4A69-9C5A-581C82036A4D}"/>
          </ac:spMkLst>
        </pc:spChg>
        <pc:picChg chg="add mod ord">
          <ac:chgData name="Alana Rivera" userId="S::arg3669@ads.northwestern.edu::fc8b707a-b7e9-4f2a-8d71-2d76819b7881" providerId="AD" clId="Web-{E8A4018D-E153-CE68-D2BE-1282D95FE451}" dt="2024-02-15T17:41:17.985" v="319" actId="1076"/>
          <ac:picMkLst>
            <pc:docMk/>
            <pc:sldMk cId="2919989900" sldId="881"/>
            <ac:picMk id="4" creationId="{1E561E22-EDA2-67F8-60AE-98A6A344B5FD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7:41:14.422" v="318" actId="1076"/>
          <ac:picMkLst>
            <pc:docMk/>
            <pc:sldMk cId="2919989900" sldId="881"/>
            <ac:picMk id="5" creationId="{9224FA67-CEC5-049B-7BA2-AF0DD7A12786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7:41:09.313" v="317" actId="1076"/>
          <ac:picMkLst>
            <pc:docMk/>
            <pc:sldMk cId="2919989900" sldId="881"/>
            <ac:picMk id="6" creationId="{F08B3AD1-C922-7858-FFB3-9A3AFFB7162D}"/>
          </ac:picMkLst>
        </pc:picChg>
      </pc:sldChg>
      <pc:sldChg chg="modSp add ord replId">
        <pc:chgData name="Alana Rivera" userId="S::arg3669@ads.northwestern.edu::fc8b707a-b7e9-4f2a-8d71-2d76819b7881" providerId="AD" clId="Web-{E8A4018D-E153-CE68-D2BE-1282D95FE451}" dt="2024-02-15T17:57:25.358" v="455"/>
        <pc:sldMkLst>
          <pc:docMk/>
          <pc:sldMk cId="579664875" sldId="882"/>
        </pc:sldMkLst>
        <pc:spChg chg="mod">
          <ac:chgData name="Alana Rivera" userId="S::arg3669@ads.northwestern.edu::fc8b707a-b7e9-4f2a-8d71-2d76819b7881" providerId="AD" clId="Web-{E8A4018D-E153-CE68-D2BE-1282D95FE451}" dt="2024-02-15T17:57:21.264" v="454" actId="20577"/>
          <ac:spMkLst>
            <pc:docMk/>
            <pc:sldMk cId="579664875" sldId="882"/>
            <ac:spMk id="2" creationId="{3DDA825D-4829-111F-EAFA-DD3F2F2D6B3C}"/>
          </ac:spMkLst>
        </pc:spChg>
      </pc:sldChg>
      <pc:sldChg chg="new del">
        <pc:chgData name="Alana Rivera" userId="S::arg3669@ads.northwestern.edu::fc8b707a-b7e9-4f2a-8d71-2d76819b7881" providerId="AD" clId="Web-{E8A4018D-E153-CE68-D2BE-1282D95FE451}" dt="2024-02-15T18:59:53.247" v="679"/>
        <pc:sldMkLst>
          <pc:docMk/>
          <pc:sldMk cId="134639911" sldId="883"/>
        </pc:sldMkLst>
      </pc:sldChg>
      <pc:sldChg chg="new del">
        <pc:chgData name="Alana Rivera" userId="S::arg3669@ads.northwestern.edu::fc8b707a-b7e9-4f2a-8d71-2d76819b7881" providerId="AD" clId="Web-{E8A4018D-E153-CE68-D2BE-1282D95FE451}" dt="2024-02-15T18:16:30.360" v="518"/>
        <pc:sldMkLst>
          <pc:docMk/>
          <pc:sldMk cId="1284760218" sldId="883"/>
        </pc:sldMkLst>
      </pc:sldChg>
      <pc:sldChg chg="addSp delSp modSp add">
        <pc:chgData name="Alana Rivera" userId="S::arg3669@ads.northwestern.edu::fc8b707a-b7e9-4f2a-8d71-2d76819b7881" providerId="AD" clId="Web-{E8A4018D-E153-CE68-D2BE-1282D95FE451}" dt="2024-02-15T18:59:42.185" v="678" actId="14100"/>
        <pc:sldMkLst>
          <pc:docMk/>
          <pc:sldMk cId="2376362958" sldId="884"/>
        </pc:sldMkLst>
        <pc:spChg chg="mod">
          <ac:chgData name="Alana Rivera" userId="S::arg3669@ads.northwestern.edu::fc8b707a-b7e9-4f2a-8d71-2d76819b7881" providerId="AD" clId="Web-{E8A4018D-E153-CE68-D2BE-1282D95FE451}" dt="2024-02-15T18:50:12.781" v="550" actId="1076"/>
          <ac:spMkLst>
            <pc:docMk/>
            <pc:sldMk cId="2376362958" sldId="884"/>
            <ac:spMk id="42" creationId="{00000000-0000-0000-0000-000000000000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50:10.922" v="549" actId="14100"/>
          <ac:spMkLst>
            <pc:docMk/>
            <pc:sldMk cId="2376362958" sldId="884"/>
            <ac:spMk id="43" creationId="{00000000-0000-0000-0000-000000000000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51:32.797" v="568" actId="14100"/>
          <ac:spMkLst>
            <pc:docMk/>
            <pc:sldMk cId="2376362958" sldId="884"/>
            <ac:spMk id="45" creationId="{00000000-0000-0000-0000-000000000000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51:26.937" v="566" actId="20577"/>
          <ac:spMkLst>
            <pc:docMk/>
            <pc:sldMk cId="2376362958" sldId="884"/>
            <ac:spMk id="46" creationId="{00000000-0000-0000-0000-000000000000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55:18.108" v="620" actId="20577"/>
          <ac:spMkLst>
            <pc:docMk/>
            <pc:sldMk cId="2376362958" sldId="884"/>
            <ac:spMk id="47" creationId="{00000000-0000-0000-0000-000000000000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59:22.904" v="674" actId="1076"/>
          <ac:spMkLst>
            <pc:docMk/>
            <pc:sldMk cId="2376362958" sldId="884"/>
            <ac:spMk id="48" creationId="{00000000-0000-0000-0000-000000000000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58:48.669" v="667" actId="14100"/>
          <ac:spMkLst>
            <pc:docMk/>
            <pc:sldMk cId="2376362958" sldId="884"/>
            <ac:spMk id="49" creationId="{00000000-0000-0000-0000-000000000000}"/>
          </ac:spMkLst>
        </pc:spChg>
        <pc:spChg chg="mod">
          <ac:chgData name="Alana Rivera" userId="S::arg3669@ads.northwestern.edu::fc8b707a-b7e9-4f2a-8d71-2d76819b7881" providerId="AD" clId="Web-{E8A4018D-E153-CE68-D2BE-1282D95FE451}" dt="2024-02-15T18:59:30.263" v="677" actId="20577"/>
          <ac:spMkLst>
            <pc:docMk/>
            <pc:sldMk cId="2376362958" sldId="884"/>
            <ac:spMk id="50" creationId="{00000000-0000-0000-0000-000000000000}"/>
          </ac:spMkLst>
        </pc:spChg>
        <pc:grpChg chg="mod">
          <ac:chgData name="Alana Rivera" userId="S::arg3669@ads.northwestern.edu::fc8b707a-b7e9-4f2a-8d71-2d76819b7881" providerId="AD" clId="Web-{E8A4018D-E153-CE68-D2BE-1282D95FE451}" dt="2024-02-15T18:51:27.484" v="567" actId="1076"/>
          <ac:grpSpMkLst>
            <pc:docMk/>
            <pc:sldMk cId="2376362958" sldId="884"/>
            <ac:grpSpMk id="2" creationId="{00000000-0000-0000-0000-000000000000}"/>
          </ac:grpSpMkLst>
        </pc:grpChg>
        <pc:grpChg chg="mod">
          <ac:chgData name="Alana Rivera" userId="S::arg3669@ads.northwestern.edu::fc8b707a-b7e9-4f2a-8d71-2d76819b7881" providerId="AD" clId="Web-{E8A4018D-E153-CE68-D2BE-1282D95FE451}" dt="2024-02-15T18:54:49.405" v="613" actId="1076"/>
          <ac:grpSpMkLst>
            <pc:docMk/>
            <pc:sldMk cId="2376362958" sldId="884"/>
            <ac:grpSpMk id="20" creationId="{00000000-0000-0000-0000-000000000000}"/>
          </ac:grpSpMkLst>
        </pc:grpChg>
        <pc:grpChg chg="mod">
          <ac:chgData name="Alana Rivera" userId="S::arg3669@ads.northwestern.edu::fc8b707a-b7e9-4f2a-8d71-2d76819b7881" providerId="AD" clId="Web-{E8A4018D-E153-CE68-D2BE-1282D95FE451}" dt="2024-02-15T18:51:16.687" v="562" actId="14100"/>
          <ac:grpSpMkLst>
            <pc:docMk/>
            <pc:sldMk cId="2376362958" sldId="884"/>
            <ac:grpSpMk id="28" creationId="{00000000-0000-0000-0000-000000000000}"/>
          </ac:grpSpMkLst>
        </pc:grpChg>
        <pc:grpChg chg="mod">
          <ac:chgData name="Alana Rivera" userId="S::arg3669@ads.northwestern.edu::fc8b707a-b7e9-4f2a-8d71-2d76819b7881" providerId="AD" clId="Web-{E8A4018D-E153-CE68-D2BE-1282D95FE451}" dt="2024-02-15T18:59:02.107" v="669" actId="14100"/>
          <ac:grpSpMkLst>
            <pc:docMk/>
            <pc:sldMk cId="2376362958" sldId="884"/>
            <ac:grpSpMk id="39" creationId="{00000000-0000-0000-0000-000000000000}"/>
          </ac:grpSpMkLst>
        </pc:grpChg>
        <pc:picChg chg="add mod">
          <ac:chgData name="Alana Rivera" userId="S::arg3669@ads.northwestern.edu::fc8b707a-b7e9-4f2a-8d71-2d76819b7881" providerId="AD" clId="Web-{E8A4018D-E153-CE68-D2BE-1282D95FE451}" dt="2024-02-15T18:51:03.875" v="560" actId="14100"/>
          <ac:picMkLst>
            <pc:docMk/>
            <pc:sldMk cId="2376362958" sldId="884"/>
            <ac:picMk id="51" creationId="{71B05762-4A76-D29F-133E-F13A5499E958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8:50:46.750" v="556" actId="14100"/>
          <ac:picMkLst>
            <pc:docMk/>
            <pc:sldMk cId="2376362958" sldId="884"/>
            <ac:picMk id="52" creationId="{FF9C82C7-C243-8E0C-A242-7926AA63ACBD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8:51:06.781" v="561" actId="14100"/>
          <ac:picMkLst>
            <pc:docMk/>
            <pc:sldMk cId="2376362958" sldId="884"/>
            <ac:picMk id="53" creationId="{00766143-BFDB-8FFA-19C2-6FCEBEF26B15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8:57:16.123" v="651" actId="14100"/>
          <ac:picMkLst>
            <pc:docMk/>
            <pc:sldMk cId="2376362958" sldId="884"/>
            <ac:picMk id="54" creationId="{428A8923-5FB8-ADFB-D22A-E7B8C29FD8A3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8:57:07.029" v="648" actId="1076"/>
          <ac:picMkLst>
            <pc:docMk/>
            <pc:sldMk cId="2376362958" sldId="884"/>
            <ac:picMk id="55" creationId="{73D7FCE7-01C8-0330-52E0-F8C124DFE84A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8:59:42.185" v="678" actId="14100"/>
          <ac:picMkLst>
            <pc:docMk/>
            <pc:sldMk cId="2376362958" sldId="884"/>
            <ac:picMk id="56" creationId="{9700AD06-56E4-9B57-2D22-2D73CD00CAB5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8:58:10.920" v="664" actId="1076"/>
          <ac:picMkLst>
            <pc:docMk/>
            <pc:sldMk cId="2376362958" sldId="884"/>
            <ac:picMk id="57" creationId="{E310F409-131D-0C7A-00F2-2C9DDC84FBD6}"/>
          </ac:picMkLst>
        </pc:picChg>
        <pc:picChg chg="add del mod">
          <ac:chgData name="Alana Rivera" userId="S::arg3669@ads.northwestern.edu::fc8b707a-b7e9-4f2a-8d71-2d76819b7881" providerId="AD" clId="Web-{E8A4018D-E153-CE68-D2BE-1282D95FE451}" dt="2024-02-15T18:54:38.624" v="612"/>
          <ac:picMkLst>
            <pc:docMk/>
            <pc:sldMk cId="2376362958" sldId="884"/>
            <ac:picMk id="58" creationId="{A2FF21B1-DA2C-D3CC-FA3B-44174A031414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8:58:15.935" v="666" actId="14100"/>
          <ac:picMkLst>
            <pc:docMk/>
            <pc:sldMk cId="2376362958" sldId="884"/>
            <ac:picMk id="59" creationId="{FE465F86-4EE0-F185-62E4-3DD367A2806A}"/>
          </ac:picMkLst>
        </pc:picChg>
        <pc:picChg chg="add mod">
          <ac:chgData name="Alana Rivera" userId="S::arg3669@ads.northwestern.edu::fc8b707a-b7e9-4f2a-8d71-2d76819b7881" providerId="AD" clId="Web-{E8A4018D-E153-CE68-D2BE-1282D95FE451}" dt="2024-02-15T18:58:13.060" v="665" actId="1076"/>
          <ac:picMkLst>
            <pc:docMk/>
            <pc:sldMk cId="2376362958" sldId="884"/>
            <ac:picMk id="60" creationId="{533608E3-E6BE-2EF9-A207-F8DC4C239BC4}"/>
          </ac:picMkLst>
        </pc:picChg>
      </pc:sldChg>
      <pc:sldChg chg="add del">
        <pc:chgData name="Alana Rivera" userId="S::arg3669@ads.northwestern.edu::fc8b707a-b7e9-4f2a-8d71-2d76819b7881" providerId="AD" clId="Web-{E8A4018D-E153-CE68-D2BE-1282D95FE451}" dt="2024-02-15T18:46:16.314" v="535"/>
        <pc:sldMkLst>
          <pc:docMk/>
          <pc:sldMk cId="3630671683" sldId="884"/>
        </pc:sldMkLst>
      </pc:sldChg>
      <pc:sldMasterChg chg="add del addSldLayout delSldLayout">
        <pc:chgData name="Alana Rivera" userId="S::arg3669@ads.northwestern.edu::fc8b707a-b7e9-4f2a-8d71-2d76819b7881" providerId="AD" clId="Web-{E8A4018D-E153-CE68-D2BE-1282D95FE451}" dt="2024-02-15T18:46:16.314" v="535"/>
        <pc:sldMasterMkLst>
          <pc:docMk/>
          <pc:sldMasterMk cId="2814031207" sldId="2147483648"/>
        </pc:sldMasterMkLst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3571024197" sldId="2147483649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2094361594" sldId="2147483650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1848166804" sldId="2147483651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2335502072" sldId="2147483652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1842031772" sldId="2147483653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61004444" sldId="2147483654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265051592" sldId="2147483655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4050157989" sldId="2147483656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3291997434" sldId="2147483657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547243984" sldId="2147483658"/>
          </pc:sldLayoutMkLst>
        </pc:sldLayoutChg>
        <pc:sldLayoutChg chg="add del">
          <pc:chgData name="Alana Rivera" userId="S::arg3669@ads.northwestern.edu::fc8b707a-b7e9-4f2a-8d71-2d76819b7881" providerId="AD" clId="Web-{E8A4018D-E153-CE68-D2BE-1282D95FE451}" dt="2024-02-15T18:46:16.314" v="535"/>
          <pc:sldLayoutMkLst>
            <pc:docMk/>
            <pc:sldMasterMk cId="2814031207" sldId="2147483648"/>
            <pc:sldLayoutMk cId="2633844382" sldId="2147483659"/>
          </pc:sldLayoutMkLst>
        </pc:sldLayoutChg>
      </pc:sldMasterChg>
    </pc:docChg>
  </pc:docChgLst>
  <pc:docChgLst>
    <pc:chgData name="Kiela Karina Moreno" userId="S::mpg7143@ads.northwestern.edu::1e897b35-0dd4-497a-9ab7-7a37e6c39d5b" providerId="AD" clId="Web-{2F890EB8-4B23-4162-A82C-33A81E7E8E56}"/>
    <pc:docChg chg="sldOrd">
      <pc:chgData name="Kiela Karina Moreno" userId="S::mpg7143@ads.northwestern.edu::1e897b35-0dd4-497a-9ab7-7a37e6c39d5b" providerId="AD" clId="Web-{2F890EB8-4B23-4162-A82C-33A81E7E8E56}" dt="2024-02-16T04:59:44.055" v="0"/>
      <pc:docMkLst>
        <pc:docMk/>
      </pc:docMkLst>
      <pc:sldChg chg="ord">
        <pc:chgData name="Kiela Karina Moreno" userId="S::mpg7143@ads.northwestern.edu::1e897b35-0dd4-497a-9ab7-7a37e6c39d5b" providerId="AD" clId="Web-{2F890EB8-4B23-4162-A82C-33A81E7E8E56}" dt="2024-02-16T04:59:44.055" v="0"/>
        <pc:sldMkLst>
          <pc:docMk/>
          <pc:sldMk cId="1134557211" sldId="885"/>
        </pc:sldMkLst>
      </pc:sldChg>
    </pc:docChg>
  </pc:docChgLst>
  <pc:docChgLst>
    <pc:chgData name="Kiela Karina Moreno" userId="S::mpg7143@ads.northwestern.edu::1e897b35-0dd4-497a-9ab7-7a37e6c39d5b" providerId="AD" clId="Web-{03E77E72-2CBE-B23B-3712-59729A2C2687}"/>
    <pc:docChg chg="addSld delSld modSld">
      <pc:chgData name="Kiela Karina Moreno" userId="S::mpg7143@ads.northwestern.edu::1e897b35-0dd4-497a-9ab7-7a37e6c39d5b" providerId="AD" clId="Web-{03E77E72-2CBE-B23B-3712-59729A2C2687}" dt="2024-02-15T19:22:11.065" v="86"/>
      <pc:docMkLst>
        <pc:docMk/>
      </pc:docMkLst>
      <pc:sldChg chg="modCm">
        <pc:chgData name="Kiela Karina Moreno" userId="S::mpg7143@ads.northwestern.edu::1e897b35-0dd4-497a-9ab7-7a37e6c39d5b" providerId="AD" clId="Web-{03E77E72-2CBE-B23B-3712-59729A2C2687}" dt="2024-02-15T19:17:28.495" v="6"/>
        <pc:sldMkLst>
          <pc:docMk/>
          <pc:sldMk cId="1914631794" sldId="86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iela Karina Moreno" userId="S::mpg7143@ads.northwestern.edu::1e897b35-0dd4-497a-9ab7-7a37e6c39d5b" providerId="AD" clId="Web-{03E77E72-2CBE-B23B-3712-59729A2C2687}" dt="2024-02-15T19:17:28.495" v="6"/>
              <pc2:cmMkLst xmlns:pc2="http://schemas.microsoft.com/office/powerpoint/2019/9/main/command">
                <pc:docMk/>
                <pc:sldMk cId="1914631794" sldId="866"/>
                <pc2:cmMk id="{055220EF-C451-452D-B486-A3B69B6D5E9E}"/>
              </pc2:cmMkLst>
            </pc226:cmChg>
          </p:ext>
        </pc:extLst>
      </pc:sldChg>
      <pc:sldChg chg="addSp modSp add del">
        <pc:chgData name="Kiela Karina Moreno" userId="S::mpg7143@ads.northwestern.edu::1e897b35-0dd4-497a-9ab7-7a37e6c39d5b" providerId="AD" clId="Web-{03E77E72-2CBE-B23B-3712-59729A2C2687}" dt="2024-02-15T19:22:11.065" v="86"/>
        <pc:sldMkLst>
          <pc:docMk/>
          <pc:sldMk cId="855149919" sldId="870"/>
        </pc:sldMkLst>
        <pc:spChg chg="mod">
          <ac:chgData name="Kiela Karina Moreno" userId="S::mpg7143@ads.northwestern.edu::1e897b35-0dd4-497a-9ab7-7a37e6c39d5b" providerId="AD" clId="Web-{03E77E72-2CBE-B23B-3712-59729A2C2687}" dt="2024-02-15T19:21:21.126" v="83" actId="20577"/>
          <ac:spMkLst>
            <pc:docMk/>
            <pc:sldMk cId="855149919" sldId="870"/>
            <ac:spMk id="2" creationId="{EB746BB1-0B9E-C282-6257-6F8279165EE8}"/>
          </ac:spMkLst>
        </pc:spChg>
        <pc:spChg chg="add mod">
          <ac:chgData name="Kiela Karina Moreno" userId="S::mpg7143@ads.northwestern.edu::1e897b35-0dd4-497a-9ab7-7a37e6c39d5b" providerId="AD" clId="Web-{03E77E72-2CBE-B23B-3712-59729A2C2687}" dt="2024-02-15T19:20:54.766" v="55" actId="14100"/>
          <ac:spMkLst>
            <pc:docMk/>
            <pc:sldMk cId="855149919" sldId="870"/>
            <ac:spMk id="4" creationId="{3FFB1D84-8568-9CBA-D4B0-1A718BB59461}"/>
          </ac:spMkLst>
        </pc:spChg>
      </pc:sldChg>
      <pc:sldChg chg="addSp delSp modSp">
        <pc:chgData name="Kiela Karina Moreno" userId="S::mpg7143@ads.northwestern.edu::1e897b35-0dd4-497a-9ab7-7a37e6c39d5b" providerId="AD" clId="Web-{03E77E72-2CBE-B23B-3712-59729A2C2687}" dt="2024-02-15T19:16:45.275" v="5" actId="1076"/>
        <pc:sldMkLst>
          <pc:docMk/>
          <pc:sldMk cId="1991711117" sldId="879"/>
        </pc:sldMkLst>
        <pc:spChg chg="add del mod">
          <ac:chgData name="Kiela Karina Moreno" userId="S::mpg7143@ads.northwestern.edu::1e897b35-0dd4-497a-9ab7-7a37e6c39d5b" providerId="AD" clId="Web-{03E77E72-2CBE-B23B-3712-59729A2C2687}" dt="2024-02-15T19:16:45.275" v="5" actId="1076"/>
          <ac:spMkLst>
            <pc:docMk/>
            <pc:sldMk cId="1991711117" sldId="879"/>
            <ac:spMk id="4" creationId="{72BFD39A-017D-DA82-0009-376839B3F9A9}"/>
          </ac:spMkLst>
        </pc:spChg>
      </pc:sldChg>
    </pc:docChg>
  </pc:docChgLst>
  <pc:docChgLst>
    <pc:chgData name="Kiela Karina Moreno" userId="S::mpg7143@ads.northwestern.edu::1e897b35-0dd4-497a-9ab7-7a37e6c39d5b" providerId="AD" clId="Web-{D0C69D22-C0B6-2AD6-D47F-A6DECBE5CD14}"/>
    <pc:docChg chg="delSld modSld">
      <pc:chgData name="Kiela Karina Moreno" userId="S::mpg7143@ads.northwestern.edu::1e897b35-0dd4-497a-9ab7-7a37e6c39d5b" providerId="AD" clId="Web-{D0C69D22-C0B6-2AD6-D47F-A6DECBE5CD14}" dt="2024-02-07T21:01:06.834" v="52"/>
      <pc:docMkLst>
        <pc:docMk/>
      </pc:docMkLst>
      <pc:sldChg chg="addSp modSp">
        <pc:chgData name="Kiela Karina Moreno" userId="S::mpg7143@ads.northwestern.edu::1e897b35-0dd4-497a-9ab7-7a37e6c39d5b" providerId="AD" clId="Web-{D0C69D22-C0B6-2AD6-D47F-A6DECBE5CD14}" dt="2024-02-07T20:59:59.831" v="46"/>
        <pc:sldMkLst>
          <pc:docMk/>
          <pc:sldMk cId="4099246298" sldId="830"/>
        </pc:sldMkLst>
        <pc:picChg chg="add mod ord">
          <ac:chgData name="Kiela Karina Moreno" userId="S::mpg7143@ads.northwestern.edu::1e897b35-0dd4-497a-9ab7-7a37e6c39d5b" providerId="AD" clId="Web-{D0C69D22-C0B6-2AD6-D47F-A6DECBE5CD14}" dt="2024-02-07T20:59:59.831" v="46"/>
          <ac:picMkLst>
            <pc:docMk/>
            <pc:sldMk cId="4099246298" sldId="830"/>
            <ac:picMk id="14" creationId="{184D2E2F-1E5E-04D0-01AA-07C03BF9D49E}"/>
          </ac:picMkLst>
        </pc:picChg>
      </pc:sldChg>
      <pc:sldChg chg="addSp modSp">
        <pc:chgData name="Kiela Karina Moreno" userId="S::mpg7143@ads.northwestern.edu::1e897b35-0dd4-497a-9ab7-7a37e6c39d5b" providerId="AD" clId="Web-{D0C69D22-C0B6-2AD6-D47F-A6DECBE5CD14}" dt="2024-02-07T20:59:02.876" v="37" actId="1076"/>
        <pc:sldMkLst>
          <pc:docMk/>
          <pc:sldMk cId="1383153618" sldId="832"/>
        </pc:sldMkLst>
        <pc:picChg chg="add mod">
          <ac:chgData name="Kiela Karina Moreno" userId="S::mpg7143@ads.northwestern.edu::1e897b35-0dd4-497a-9ab7-7a37e6c39d5b" providerId="AD" clId="Web-{D0C69D22-C0B6-2AD6-D47F-A6DECBE5CD14}" dt="2024-02-07T20:59:02.876" v="37" actId="1076"/>
          <ac:picMkLst>
            <pc:docMk/>
            <pc:sldMk cId="1383153618" sldId="832"/>
            <ac:picMk id="7" creationId="{9F750BFA-7CD3-D6B3-E929-7780FBD1D480}"/>
          </ac:picMkLst>
        </pc:picChg>
      </pc:sldChg>
      <pc:sldChg chg="modSp">
        <pc:chgData name="Kiela Karina Moreno" userId="S::mpg7143@ads.northwestern.edu::1e897b35-0dd4-497a-9ab7-7a37e6c39d5b" providerId="AD" clId="Web-{D0C69D22-C0B6-2AD6-D47F-A6DECBE5CD14}" dt="2024-02-07T20:59:20.127" v="41" actId="1076"/>
        <pc:sldMkLst>
          <pc:docMk/>
          <pc:sldMk cId="777023516" sldId="851"/>
        </pc:sldMkLst>
        <pc:spChg chg="mod">
          <ac:chgData name="Kiela Karina Moreno" userId="S::mpg7143@ads.northwestern.edu::1e897b35-0dd4-497a-9ab7-7a37e6c39d5b" providerId="AD" clId="Web-{D0C69D22-C0B6-2AD6-D47F-A6DECBE5CD14}" dt="2024-02-07T20:59:20.127" v="41" actId="1076"/>
          <ac:spMkLst>
            <pc:docMk/>
            <pc:sldMk cId="777023516" sldId="851"/>
            <ac:spMk id="2" creationId="{9E8CD4B7-18A7-76E3-2CBA-3647A32E0C12}"/>
          </ac:spMkLst>
        </pc:spChg>
      </pc:sldChg>
      <pc:sldChg chg="modSp">
        <pc:chgData name="Kiela Karina Moreno" userId="S::mpg7143@ads.northwestern.edu::1e897b35-0dd4-497a-9ab7-7a37e6c39d5b" providerId="AD" clId="Web-{D0C69D22-C0B6-2AD6-D47F-A6DECBE5CD14}" dt="2024-02-07T21:00:19.551" v="47" actId="1076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D0C69D22-C0B6-2AD6-D47F-A6DECBE5CD14}" dt="2024-02-07T21:00:19.551" v="47" actId="1076"/>
          <ac:spMkLst>
            <pc:docMk/>
            <pc:sldMk cId="2820585005" sldId="856"/>
            <ac:spMk id="5" creationId="{128C267F-D634-3898-5F27-33D0A5C5B94E}"/>
          </ac:spMkLst>
        </pc:spChg>
      </pc:sldChg>
      <pc:sldChg chg="del">
        <pc:chgData name="Kiela Karina Moreno" userId="S::mpg7143@ads.northwestern.edu::1e897b35-0dd4-497a-9ab7-7a37e6c39d5b" providerId="AD" clId="Web-{D0C69D22-C0B6-2AD6-D47F-A6DECBE5CD14}" dt="2024-02-07T20:52:49.458" v="9"/>
        <pc:sldMkLst>
          <pc:docMk/>
          <pc:sldMk cId="726365034" sldId="864"/>
        </pc:sldMkLst>
      </pc:sldChg>
      <pc:sldChg chg="modSp">
        <pc:chgData name="Kiela Karina Moreno" userId="S::mpg7143@ads.northwestern.edu::1e897b35-0dd4-497a-9ab7-7a37e6c39d5b" providerId="AD" clId="Web-{D0C69D22-C0B6-2AD6-D47F-A6DECBE5CD14}" dt="2024-02-07T20:52:46.739" v="8" actId="1076"/>
        <pc:sldMkLst>
          <pc:docMk/>
          <pc:sldMk cId="1914631794" sldId="866"/>
        </pc:sldMkLst>
        <pc:spChg chg="mod">
          <ac:chgData name="Kiela Karina Moreno" userId="S::mpg7143@ads.northwestern.edu::1e897b35-0dd4-497a-9ab7-7a37e6c39d5b" providerId="AD" clId="Web-{D0C69D22-C0B6-2AD6-D47F-A6DECBE5CD14}" dt="2024-02-07T20:52:46.739" v="8" actId="1076"/>
          <ac:spMkLst>
            <pc:docMk/>
            <pc:sldMk cId="1914631794" sldId="866"/>
            <ac:spMk id="3" creationId="{5EC312F1-9F6E-D473-207C-7D9046AEEDE1}"/>
          </ac:spMkLst>
        </pc:spChg>
        <pc:spChg chg="mod">
          <ac:chgData name="Kiela Karina Moreno" userId="S::mpg7143@ads.northwestern.edu::1e897b35-0dd4-497a-9ab7-7a37e6c39d5b" providerId="AD" clId="Web-{D0C69D22-C0B6-2AD6-D47F-A6DECBE5CD14}" dt="2024-02-07T20:52:42.520" v="7" actId="1076"/>
          <ac:spMkLst>
            <pc:docMk/>
            <pc:sldMk cId="1914631794" sldId="866"/>
            <ac:spMk id="8" creationId="{E47F76B0-6B6E-EEFB-EB7C-CF553EF99CB9}"/>
          </ac:spMkLst>
        </pc:spChg>
      </pc:sldChg>
      <pc:sldChg chg="addSp modSp">
        <pc:chgData name="Kiela Karina Moreno" userId="S::mpg7143@ads.northwestern.edu::1e897b35-0dd4-497a-9ab7-7a37e6c39d5b" providerId="AD" clId="Web-{D0C69D22-C0B6-2AD6-D47F-A6DECBE5CD14}" dt="2024-02-07T21:01:06.834" v="52"/>
        <pc:sldMkLst>
          <pc:docMk/>
          <pc:sldMk cId="855149919" sldId="870"/>
        </pc:sldMkLst>
        <pc:spChg chg="add mod">
          <ac:chgData name="Kiela Karina Moreno" userId="S::mpg7143@ads.northwestern.edu::1e897b35-0dd4-497a-9ab7-7a37e6c39d5b" providerId="AD" clId="Web-{D0C69D22-C0B6-2AD6-D47F-A6DECBE5CD14}" dt="2024-02-07T21:01:06.834" v="52"/>
          <ac:spMkLst>
            <pc:docMk/>
            <pc:sldMk cId="855149919" sldId="870"/>
            <ac:spMk id="2" creationId="{EB746BB1-0B9E-C282-6257-6F8279165EE8}"/>
          </ac:spMkLst>
        </pc:spChg>
      </pc:sldChg>
    </pc:docChg>
  </pc:docChgLst>
  <pc:docChgLst>
    <pc:chgData name="Eileen Fleming Suse" userId="S::efs3844@ads.northwestern.edu::725c94ef-d051-42d7-9d33-8572765d592b" providerId="AD" clId="Web-{CD47619C-E47F-9DAD-2566-358D6FCC17A3}"/>
    <pc:docChg chg="addSld delSld modSld sldOrd">
      <pc:chgData name="Eileen Fleming Suse" userId="S::efs3844@ads.northwestern.edu::725c94ef-d051-42d7-9d33-8572765d592b" providerId="AD" clId="Web-{CD47619C-E47F-9DAD-2566-358D6FCC17A3}" dt="2024-02-13T19:37:18.954" v="21" actId="14100"/>
      <pc:docMkLst>
        <pc:docMk/>
      </pc:docMkLst>
      <pc:sldChg chg="modSp">
        <pc:chgData name="Eileen Fleming Suse" userId="S::efs3844@ads.northwestern.edu::725c94ef-d051-42d7-9d33-8572765d592b" providerId="AD" clId="Web-{CD47619C-E47F-9DAD-2566-358D6FCC17A3}" dt="2024-02-13T15:52:38.212" v="2" actId="20577"/>
        <pc:sldMkLst>
          <pc:docMk/>
          <pc:sldMk cId="4044691067" sldId="283"/>
        </pc:sldMkLst>
        <pc:spChg chg="mod">
          <ac:chgData name="Eileen Fleming Suse" userId="S::efs3844@ads.northwestern.edu::725c94ef-d051-42d7-9d33-8572765d592b" providerId="AD" clId="Web-{CD47619C-E47F-9DAD-2566-358D6FCC17A3}" dt="2024-02-13T15:52:38.212" v="2" actId="20577"/>
          <ac:spMkLst>
            <pc:docMk/>
            <pc:sldMk cId="4044691067" sldId="283"/>
            <ac:spMk id="5" creationId="{F0B2A739-51C3-9CBF-7F6C-3EE69AAB6035}"/>
          </ac:spMkLst>
        </pc:spChg>
      </pc:sldChg>
      <pc:sldChg chg="del">
        <pc:chgData name="Eileen Fleming Suse" userId="S::efs3844@ads.northwestern.edu::725c94ef-d051-42d7-9d33-8572765d592b" providerId="AD" clId="Web-{CD47619C-E47F-9DAD-2566-358D6FCC17A3}" dt="2024-02-13T16:01:30.820" v="17"/>
        <pc:sldMkLst>
          <pc:docMk/>
          <pc:sldMk cId="1234199256" sldId="289"/>
        </pc:sldMkLst>
      </pc:sldChg>
      <pc:sldChg chg="modSp">
        <pc:chgData name="Eileen Fleming Suse" userId="S::efs3844@ads.northwestern.edu::725c94ef-d051-42d7-9d33-8572765d592b" providerId="AD" clId="Web-{CD47619C-E47F-9DAD-2566-358D6FCC17A3}" dt="2024-02-13T19:37:18.954" v="21" actId="14100"/>
        <pc:sldMkLst>
          <pc:docMk/>
          <pc:sldMk cId="2688480143" sldId="821"/>
        </pc:sldMkLst>
        <pc:spChg chg="mod">
          <ac:chgData name="Eileen Fleming Suse" userId="S::efs3844@ads.northwestern.edu::725c94ef-d051-42d7-9d33-8572765d592b" providerId="AD" clId="Web-{CD47619C-E47F-9DAD-2566-358D6FCC17A3}" dt="2024-02-13T19:37:18.954" v="21" actId="14100"/>
          <ac:spMkLst>
            <pc:docMk/>
            <pc:sldMk cId="2688480143" sldId="821"/>
            <ac:spMk id="4" creationId="{8F22AABC-2FAE-C746-BE44-74BD0DF24816}"/>
          </ac:spMkLst>
        </pc:spChg>
      </pc:sldChg>
      <pc:sldChg chg="del">
        <pc:chgData name="Eileen Fleming Suse" userId="S::efs3844@ads.northwestern.edu::725c94ef-d051-42d7-9d33-8572765d592b" providerId="AD" clId="Web-{CD47619C-E47F-9DAD-2566-358D6FCC17A3}" dt="2024-02-13T16:01:29.945" v="16"/>
        <pc:sldMkLst>
          <pc:docMk/>
          <pc:sldMk cId="1690262315" sldId="835"/>
        </pc:sldMkLst>
      </pc:sldChg>
      <pc:sldChg chg="del">
        <pc:chgData name="Eileen Fleming Suse" userId="S::efs3844@ads.northwestern.edu::725c94ef-d051-42d7-9d33-8572765d592b" providerId="AD" clId="Web-{CD47619C-E47F-9DAD-2566-358D6FCC17A3}" dt="2024-02-13T16:01:31.898" v="18"/>
        <pc:sldMkLst>
          <pc:docMk/>
          <pc:sldMk cId="1310655723" sldId="836"/>
        </pc:sldMkLst>
      </pc:sldChg>
      <pc:sldChg chg="modSp">
        <pc:chgData name="Eileen Fleming Suse" userId="S::efs3844@ads.northwestern.edu::725c94ef-d051-42d7-9d33-8572765d592b" providerId="AD" clId="Web-{CD47619C-E47F-9DAD-2566-358D6FCC17A3}" dt="2024-02-13T16:01:33.336" v="19" actId="14100"/>
        <pc:sldMkLst>
          <pc:docMk/>
          <pc:sldMk cId="1663322964" sldId="846"/>
        </pc:sldMkLst>
        <pc:graphicFrameChg chg="mod">
          <ac:chgData name="Eileen Fleming Suse" userId="S::efs3844@ads.northwestern.edu::725c94ef-d051-42d7-9d33-8572765d592b" providerId="AD" clId="Web-{CD47619C-E47F-9DAD-2566-358D6FCC17A3}" dt="2024-02-13T16:01:33.336" v="19" actId="14100"/>
          <ac:graphicFrameMkLst>
            <pc:docMk/>
            <pc:sldMk cId="1663322964" sldId="846"/>
            <ac:graphicFrameMk id="124" creationId="{3315F4F4-9BD1-4A79-6FB8-D0E10F301094}"/>
          </ac:graphicFrameMkLst>
        </pc:graphicFrameChg>
      </pc:sldChg>
      <pc:sldChg chg="modSp add mod modClrScheme chgLayout">
        <pc:chgData name="Eileen Fleming Suse" userId="S::efs3844@ads.northwestern.edu::725c94ef-d051-42d7-9d33-8572765d592b" providerId="AD" clId="Web-{CD47619C-E47F-9DAD-2566-358D6FCC17A3}" dt="2024-02-13T15:54:33.996" v="7"/>
        <pc:sldMkLst>
          <pc:docMk/>
          <pc:sldMk cId="3558960164" sldId="849"/>
        </pc:sldMkLst>
        <pc:spChg chg="mod ord">
          <ac:chgData name="Eileen Fleming Suse" userId="S::efs3844@ads.northwestern.edu::725c94ef-d051-42d7-9d33-8572765d592b" providerId="AD" clId="Web-{CD47619C-E47F-9DAD-2566-358D6FCC17A3}" dt="2024-02-13T15:54:33.996" v="7"/>
          <ac:spMkLst>
            <pc:docMk/>
            <pc:sldMk cId="3558960164" sldId="849"/>
            <ac:spMk id="2" creationId="{F3279978-6647-EDE0-87A0-C3A213094B47}"/>
          </ac:spMkLst>
        </pc:spChg>
        <pc:spChg chg="mod ord">
          <ac:chgData name="Eileen Fleming Suse" userId="S::efs3844@ads.northwestern.edu::725c94ef-d051-42d7-9d33-8572765d592b" providerId="AD" clId="Web-{CD47619C-E47F-9DAD-2566-358D6FCC17A3}" dt="2024-02-13T15:54:33.996" v="7"/>
          <ac:spMkLst>
            <pc:docMk/>
            <pc:sldMk cId="3558960164" sldId="849"/>
            <ac:spMk id="3" creationId="{48256BD7-2B58-B243-D788-FA2969900047}"/>
          </ac:spMkLst>
        </pc:spChg>
      </pc:sldChg>
      <pc:sldChg chg="ord">
        <pc:chgData name="Eileen Fleming Suse" userId="S::efs3844@ads.northwestern.edu::725c94ef-d051-42d7-9d33-8572765d592b" providerId="AD" clId="Web-{CD47619C-E47F-9DAD-2566-358D6FCC17A3}" dt="2024-02-13T16:01:28.461" v="15"/>
        <pc:sldMkLst>
          <pc:docMk/>
          <pc:sldMk cId="2820585005" sldId="856"/>
        </pc:sldMkLst>
      </pc:sldChg>
      <pc:sldChg chg="add">
        <pc:chgData name="Eileen Fleming Suse" userId="S::efs3844@ads.northwestern.edu::725c94ef-d051-42d7-9d33-8572765d592b" providerId="AD" clId="Web-{CD47619C-E47F-9DAD-2566-358D6FCC17A3}" dt="2024-02-13T15:52:43.259" v="3"/>
        <pc:sldMkLst>
          <pc:docMk/>
          <pc:sldMk cId="3352784023" sldId="874"/>
        </pc:sldMkLst>
      </pc:sldChg>
      <pc:sldChg chg="add">
        <pc:chgData name="Eileen Fleming Suse" userId="S::efs3844@ads.northwestern.edu::725c94ef-d051-42d7-9d33-8572765d592b" providerId="AD" clId="Web-{CD47619C-E47F-9DAD-2566-358D6FCC17A3}" dt="2024-02-13T15:52:43.524" v="4"/>
        <pc:sldMkLst>
          <pc:docMk/>
          <pc:sldMk cId="1848458524" sldId="875"/>
        </pc:sldMkLst>
      </pc:sldChg>
      <pc:sldChg chg="add">
        <pc:chgData name="Eileen Fleming Suse" userId="S::efs3844@ads.northwestern.edu::725c94ef-d051-42d7-9d33-8572765d592b" providerId="AD" clId="Web-{CD47619C-E47F-9DAD-2566-358D6FCC17A3}" dt="2024-02-13T15:52:43.759" v="5"/>
        <pc:sldMkLst>
          <pc:docMk/>
          <pc:sldMk cId="2067131191" sldId="876"/>
        </pc:sldMkLst>
      </pc:sldChg>
      <pc:sldChg chg="new">
        <pc:chgData name="Eileen Fleming Suse" userId="S::efs3844@ads.northwestern.edu::725c94ef-d051-42d7-9d33-8572765d592b" providerId="AD" clId="Web-{CD47619C-E47F-9DAD-2566-358D6FCC17A3}" dt="2024-02-13T18:52:51.681" v="20"/>
        <pc:sldMkLst>
          <pc:docMk/>
          <pc:sldMk cId="3394670119" sldId="878"/>
        </pc:sldMkLst>
      </pc:sldChg>
    </pc:docChg>
  </pc:docChgLst>
  <pc:docChgLst>
    <pc:chgData name="Kiela Karina Moreno" userId="S::mpg7143@ads.northwestern.edu::1e897b35-0dd4-497a-9ab7-7a37e6c39d5b" providerId="AD" clId="Web-{A5D8FE1F-FED1-E3DF-55E0-9A71140658CD}"/>
    <pc:docChg chg="modSld">
      <pc:chgData name="Kiela Karina Moreno" userId="S::mpg7143@ads.northwestern.edu::1e897b35-0dd4-497a-9ab7-7a37e6c39d5b" providerId="AD" clId="Web-{A5D8FE1F-FED1-E3DF-55E0-9A71140658CD}" dt="2024-01-27T18:08:06.111" v="50" actId="20577"/>
      <pc:docMkLst>
        <pc:docMk/>
      </pc:docMkLst>
      <pc:sldChg chg="modSp">
        <pc:chgData name="Kiela Karina Moreno" userId="S::mpg7143@ads.northwestern.edu::1e897b35-0dd4-497a-9ab7-7a37e6c39d5b" providerId="AD" clId="Web-{A5D8FE1F-FED1-E3DF-55E0-9A71140658CD}" dt="2024-01-27T18:08:06.111" v="50" actId="20577"/>
        <pc:sldMkLst>
          <pc:docMk/>
          <pc:sldMk cId="2820585005" sldId="856"/>
        </pc:sldMkLst>
        <pc:spChg chg="mod">
          <ac:chgData name="Kiela Karina Moreno" userId="S::mpg7143@ads.northwestern.edu::1e897b35-0dd4-497a-9ab7-7a37e6c39d5b" providerId="AD" clId="Web-{A5D8FE1F-FED1-E3DF-55E0-9A71140658CD}" dt="2024-01-27T18:08:06.111" v="50" actId="20577"/>
          <ac:spMkLst>
            <pc:docMk/>
            <pc:sldMk cId="2820585005" sldId="856"/>
            <ac:spMk id="5" creationId="{128C267F-D634-3898-5F27-33D0A5C5B94E}"/>
          </ac:spMkLst>
        </pc:spChg>
      </pc:sldChg>
    </pc:docChg>
  </pc:docChgLst>
  <pc:docChgLst>
    <pc:chgData name="Kiela Karina Moreno" userId="S::mpg7143@ads.northwestern.edu::1e897b35-0dd4-497a-9ab7-7a37e6c39d5b" providerId="AD" clId="Web-{2B28D2C0-9AC2-09ED-B596-1DDFDDC7B246}"/>
    <pc:docChg chg="modSld">
      <pc:chgData name="Kiela Karina Moreno" userId="S::mpg7143@ads.northwestern.edu::1e897b35-0dd4-497a-9ab7-7a37e6c39d5b" providerId="AD" clId="Web-{2B28D2C0-9AC2-09ED-B596-1DDFDDC7B246}" dt="2024-07-22T15:50:38.229" v="6"/>
      <pc:docMkLst>
        <pc:docMk/>
      </pc:docMkLst>
      <pc:sldChg chg="modNotes">
        <pc:chgData name="Kiela Karina Moreno" userId="S::mpg7143@ads.northwestern.edu::1e897b35-0dd4-497a-9ab7-7a37e6c39d5b" providerId="AD" clId="Web-{2B28D2C0-9AC2-09ED-B596-1DDFDDC7B246}" dt="2024-07-22T15:50:17.541" v="2"/>
        <pc:sldMkLst>
          <pc:docMk/>
          <pc:sldMk cId="2688480143" sldId="821"/>
        </pc:sldMkLst>
      </pc:sldChg>
      <pc:sldChg chg="modNotes">
        <pc:chgData name="Kiela Karina Moreno" userId="S::mpg7143@ads.northwestern.edu::1e897b35-0dd4-497a-9ab7-7a37e6c39d5b" providerId="AD" clId="Web-{2B28D2C0-9AC2-09ED-B596-1DDFDDC7B246}" dt="2024-07-22T15:50:38.229" v="6"/>
        <pc:sldMkLst>
          <pc:docMk/>
          <pc:sldMk cId="3358532880" sldId="860"/>
        </pc:sldMkLst>
      </pc:sldChg>
      <pc:sldChg chg="modNotes">
        <pc:chgData name="Kiela Karina Moreno" userId="S::mpg7143@ads.northwestern.edu::1e897b35-0dd4-497a-9ab7-7a37e6c39d5b" providerId="AD" clId="Web-{2B28D2C0-9AC2-09ED-B596-1DDFDDC7B246}" dt="2024-07-22T15:50:08.025" v="0"/>
        <pc:sldMkLst>
          <pc:docMk/>
          <pc:sldMk cId="2616071266" sldId="863"/>
        </pc:sldMkLst>
      </pc:sldChg>
      <pc:sldChg chg="modNotes">
        <pc:chgData name="Kiela Karina Moreno" userId="S::mpg7143@ads.northwestern.edu::1e897b35-0dd4-497a-9ab7-7a37e6c39d5b" providerId="AD" clId="Web-{2B28D2C0-9AC2-09ED-B596-1DDFDDC7B246}" dt="2024-07-22T15:50:34.041" v="5"/>
        <pc:sldMkLst>
          <pc:docMk/>
          <pc:sldMk cId="1391034132" sldId="886"/>
        </pc:sldMkLst>
      </pc:sldChg>
      <pc:sldChg chg="modNotes">
        <pc:chgData name="Kiela Karina Moreno" userId="S::mpg7143@ads.northwestern.edu::1e897b35-0dd4-497a-9ab7-7a37e6c39d5b" providerId="AD" clId="Web-{2B28D2C0-9AC2-09ED-B596-1DDFDDC7B246}" dt="2024-07-22T15:50:14.244" v="1"/>
        <pc:sldMkLst>
          <pc:docMk/>
          <pc:sldMk cId="2806931985" sldId="888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svg"/><Relationship Id="rId3" Type="http://schemas.openxmlformats.org/officeDocument/2006/relationships/image" Target="../media/image122.png"/><Relationship Id="rId7" Type="http://schemas.openxmlformats.org/officeDocument/2006/relationships/image" Target="../media/image126.png"/><Relationship Id="rId2" Type="http://schemas.openxmlformats.org/officeDocument/2006/relationships/image" Target="../media/image121.svg"/><Relationship Id="rId1" Type="http://schemas.openxmlformats.org/officeDocument/2006/relationships/image" Target="../media/image120.png"/><Relationship Id="rId6" Type="http://schemas.openxmlformats.org/officeDocument/2006/relationships/image" Target="../media/image125.svg"/><Relationship Id="rId5" Type="http://schemas.openxmlformats.org/officeDocument/2006/relationships/image" Target="../media/image124.png"/><Relationship Id="rId10" Type="http://schemas.openxmlformats.org/officeDocument/2006/relationships/image" Target="../media/image129.svg"/><Relationship Id="rId4" Type="http://schemas.openxmlformats.org/officeDocument/2006/relationships/image" Target="../media/image123.svg"/><Relationship Id="rId9" Type="http://schemas.openxmlformats.org/officeDocument/2006/relationships/image" Target="../media/image128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svg"/><Relationship Id="rId3" Type="http://schemas.openxmlformats.org/officeDocument/2006/relationships/image" Target="../media/image122.png"/><Relationship Id="rId7" Type="http://schemas.openxmlformats.org/officeDocument/2006/relationships/image" Target="../media/image126.png"/><Relationship Id="rId2" Type="http://schemas.openxmlformats.org/officeDocument/2006/relationships/image" Target="../media/image121.svg"/><Relationship Id="rId1" Type="http://schemas.openxmlformats.org/officeDocument/2006/relationships/image" Target="../media/image120.png"/><Relationship Id="rId6" Type="http://schemas.openxmlformats.org/officeDocument/2006/relationships/image" Target="../media/image125.svg"/><Relationship Id="rId5" Type="http://schemas.openxmlformats.org/officeDocument/2006/relationships/image" Target="../media/image124.png"/><Relationship Id="rId10" Type="http://schemas.openxmlformats.org/officeDocument/2006/relationships/image" Target="../media/image129.svg"/><Relationship Id="rId4" Type="http://schemas.openxmlformats.org/officeDocument/2006/relationships/image" Target="../media/image123.svg"/><Relationship Id="rId9" Type="http://schemas.openxmlformats.org/officeDocument/2006/relationships/image" Target="../media/image12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2B2B0B-E1EB-413E-9DDA-E947D59F25D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E1C93713-C3EB-49CB-91FC-6AE222C01E06}">
      <dgm:prSet/>
      <dgm:spPr/>
      <dgm:t>
        <a:bodyPr/>
        <a:lstStyle/>
        <a:p>
          <a:pPr rtl="0"/>
          <a:r>
            <a:rPr lang="en-US" b="0" i="0"/>
            <a:t>Roster</a:t>
          </a:r>
          <a:r>
            <a:rPr lang="en-US">
              <a:latin typeface="Calibri" panose="020F0502020204030204"/>
            </a:rPr>
            <a:t> completed</a:t>
          </a:r>
          <a:endParaRPr lang="en-US"/>
        </a:p>
      </dgm:t>
    </dgm:pt>
    <dgm:pt modelId="{017DDF6E-A81F-4ED1-9A22-704725CF3315}" type="parTrans" cxnId="{417E77D2-2844-4756-B3DC-2328CC82AE64}">
      <dgm:prSet/>
      <dgm:spPr/>
      <dgm:t>
        <a:bodyPr/>
        <a:lstStyle/>
        <a:p>
          <a:endParaRPr lang="en-US"/>
        </a:p>
      </dgm:t>
    </dgm:pt>
    <dgm:pt modelId="{681B1666-B7DC-46FF-865C-E7E4408A3128}" type="sibTrans" cxnId="{417E77D2-2844-4756-B3DC-2328CC82AE64}">
      <dgm:prSet/>
      <dgm:spPr/>
      <dgm:t>
        <a:bodyPr/>
        <a:lstStyle/>
        <a:p>
          <a:endParaRPr lang="en-US"/>
        </a:p>
      </dgm:t>
    </dgm:pt>
    <dgm:pt modelId="{22A9C8C7-F5B2-47F8-9266-7D3C5B78203D}">
      <dgm:prSet/>
      <dgm:spPr/>
      <dgm:t>
        <a:bodyPr/>
        <a:lstStyle/>
        <a:p>
          <a:pPr rtl="0"/>
          <a:r>
            <a:rPr lang="en-US" b="0" i="0"/>
            <a:t>Readiness survey</a:t>
          </a:r>
          <a:r>
            <a:rPr lang="en-US">
              <a:latin typeface="Calibri" panose="020F0502020204030204"/>
            </a:rPr>
            <a:t> submitted</a:t>
          </a:r>
          <a:endParaRPr lang="en-US"/>
        </a:p>
      </dgm:t>
    </dgm:pt>
    <dgm:pt modelId="{B101DCC5-9DFD-4A6B-BA5C-685F2C04701A}" type="parTrans" cxnId="{E331CCFB-8655-40AB-A8B0-C2D8CAF50BB7}">
      <dgm:prSet/>
      <dgm:spPr/>
      <dgm:t>
        <a:bodyPr/>
        <a:lstStyle/>
        <a:p>
          <a:endParaRPr lang="en-US"/>
        </a:p>
      </dgm:t>
    </dgm:pt>
    <dgm:pt modelId="{8DD8678B-BA49-4419-9EBE-3976039D4D32}" type="sibTrans" cxnId="{E331CCFB-8655-40AB-A8B0-C2D8CAF50BB7}">
      <dgm:prSet/>
      <dgm:spPr/>
      <dgm:t>
        <a:bodyPr/>
        <a:lstStyle/>
        <a:p>
          <a:endParaRPr lang="en-US"/>
        </a:p>
      </dgm:t>
    </dgm:pt>
    <dgm:pt modelId="{ABEF426E-B491-40FF-AC15-A987673D5657}">
      <dgm:prSet/>
      <dgm:spPr/>
      <dgm:t>
        <a:bodyPr/>
        <a:lstStyle/>
        <a:p>
          <a:pPr rtl="0"/>
          <a:r>
            <a:rPr lang="en-US" b="0" i="0"/>
            <a:t>Data submission Baseline-March</a:t>
          </a:r>
          <a:r>
            <a:rPr lang="en-US">
              <a:latin typeface="Aptos Display" panose="020F0302020204030204"/>
            </a:rPr>
            <a:t> 2024</a:t>
          </a:r>
          <a:endParaRPr lang="en-US"/>
        </a:p>
      </dgm:t>
    </dgm:pt>
    <dgm:pt modelId="{030946D5-5CF2-4290-A76A-0674D8E41067}" type="parTrans" cxnId="{66D3E18C-0B0C-4B1C-B1EF-E623E12AA24C}">
      <dgm:prSet/>
      <dgm:spPr/>
      <dgm:t>
        <a:bodyPr/>
        <a:lstStyle/>
        <a:p>
          <a:endParaRPr lang="en-US"/>
        </a:p>
      </dgm:t>
    </dgm:pt>
    <dgm:pt modelId="{FD32A3B9-A8D0-4359-AAD4-1E7566649D87}" type="sibTrans" cxnId="{66D3E18C-0B0C-4B1C-B1EF-E623E12AA24C}">
      <dgm:prSet/>
      <dgm:spPr/>
      <dgm:t>
        <a:bodyPr/>
        <a:lstStyle/>
        <a:p>
          <a:endParaRPr lang="en-US"/>
        </a:p>
      </dgm:t>
    </dgm:pt>
    <dgm:pt modelId="{CCB8D15D-723C-4981-B18C-F1466BE1AAB4}">
      <dgm:prSet/>
      <dgm:spPr/>
      <dgm:t>
        <a:bodyPr/>
        <a:lstStyle/>
        <a:p>
          <a:r>
            <a:rPr lang="en-US" b="0" i="0"/>
            <a:t>Regular webinar attendance</a:t>
          </a:r>
          <a:endParaRPr lang="en-US"/>
        </a:p>
      </dgm:t>
    </dgm:pt>
    <dgm:pt modelId="{65CA7CE1-41FE-4B30-966E-96DEDA3457DA}" type="parTrans" cxnId="{1FD0491C-29F0-46D5-BCB6-432F58E9D832}">
      <dgm:prSet/>
      <dgm:spPr/>
      <dgm:t>
        <a:bodyPr/>
        <a:lstStyle/>
        <a:p>
          <a:endParaRPr lang="en-US"/>
        </a:p>
      </dgm:t>
    </dgm:pt>
    <dgm:pt modelId="{DE020A91-7E26-42CF-BA54-F258A6F62FA1}" type="sibTrans" cxnId="{1FD0491C-29F0-46D5-BCB6-432F58E9D832}">
      <dgm:prSet/>
      <dgm:spPr/>
      <dgm:t>
        <a:bodyPr/>
        <a:lstStyle/>
        <a:p>
          <a:endParaRPr lang="en-US"/>
        </a:p>
      </dgm:t>
    </dgm:pt>
    <dgm:pt modelId="{C9BE8925-93DB-4A77-A7B5-D77AAF1F7F8F}">
      <dgm:prSet/>
      <dgm:spPr/>
      <dgm:t>
        <a:bodyPr/>
        <a:lstStyle/>
        <a:p>
          <a:r>
            <a:rPr lang="en-US" b="0" i="0"/>
            <a:t>At least 1 ESSI team member registered and attended PQI Training </a:t>
          </a:r>
          <a:endParaRPr lang="en-US"/>
        </a:p>
      </dgm:t>
    </dgm:pt>
    <dgm:pt modelId="{C719A9D3-2F1E-42D8-BCE8-ACFAB380378B}" type="parTrans" cxnId="{B415BE9B-358B-4A65-B0BB-543CB2D0E032}">
      <dgm:prSet/>
      <dgm:spPr/>
      <dgm:t>
        <a:bodyPr/>
        <a:lstStyle/>
        <a:p>
          <a:endParaRPr lang="en-US"/>
        </a:p>
      </dgm:t>
    </dgm:pt>
    <dgm:pt modelId="{019C1C66-502C-4B34-9CFE-5A235A780816}" type="sibTrans" cxnId="{B415BE9B-358B-4A65-B0BB-543CB2D0E032}">
      <dgm:prSet/>
      <dgm:spPr/>
      <dgm:t>
        <a:bodyPr/>
        <a:lstStyle/>
        <a:p>
          <a:endParaRPr lang="en-US"/>
        </a:p>
      </dgm:t>
    </dgm:pt>
    <dgm:pt modelId="{9CC28595-DE9C-4D9D-A4A9-237FAAB25E9F}" type="pres">
      <dgm:prSet presAssocID="{092B2B0B-E1EB-413E-9DDA-E947D59F25D8}" presName="root" presStyleCnt="0">
        <dgm:presLayoutVars>
          <dgm:dir/>
          <dgm:resizeHandles val="exact"/>
        </dgm:presLayoutVars>
      </dgm:prSet>
      <dgm:spPr/>
    </dgm:pt>
    <dgm:pt modelId="{06304710-C377-43C6-8E6B-236B8C9860A1}" type="pres">
      <dgm:prSet presAssocID="{E1C93713-C3EB-49CB-91FC-6AE222C01E06}" presName="compNode" presStyleCnt="0"/>
      <dgm:spPr/>
    </dgm:pt>
    <dgm:pt modelId="{93202B0C-73E3-4FE0-AE31-9D4E51D7D38F}" type="pres">
      <dgm:prSet presAssocID="{E1C93713-C3EB-49CB-91FC-6AE222C01E06}" presName="bgRect" presStyleLbl="bgShp" presStyleIdx="0" presStyleCnt="5"/>
      <dgm:spPr/>
    </dgm:pt>
    <dgm:pt modelId="{77F77850-9AEC-4F25-AA31-E89395EE4FF0}" type="pres">
      <dgm:prSet presAssocID="{E1C93713-C3EB-49CB-91FC-6AE222C01E06}" presName="iconRect" presStyleLbl="node1" presStyleIdx="0" presStyleCnt="5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4986EA0F-85C0-4BF9-AB83-958EC624E790}" type="pres">
      <dgm:prSet presAssocID="{E1C93713-C3EB-49CB-91FC-6AE222C01E06}" presName="spaceRect" presStyleCnt="0"/>
      <dgm:spPr/>
    </dgm:pt>
    <dgm:pt modelId="{0CAE225C-FE04-4CE9-A9A3-60CAC3219064}" type="pres">
      <dgm:prSet presAssocID="{E1C93713-C3EB-49CB-91FC-6AE222C01E06}" presName="parTx" presStyleLbl="revTx" presStyleIdx="0" presStyleCnt="5">
        <dgm:presLayoutVars>
          <dgm:chMax val="0"/>
          <dgm:chPref val="0"/>
        </dgm:presLayoutVars>
      </dgm:prSet>
      <dgm:spPr/>
    </dgm:pt>
    <dgm:pt modelId="{579B1BF8-459F-4645-BFA4-A14708C9DD28}" type="pres">
      <dgm:prSet presAssocID="{681B1666-B7DC-46FF-865C-E7E4408A3128}" presName="sibTrans" presStyleCnt="0"/>
      <dgm:spPr/>
    </dgm:pt>
    <dgm:pt modelId="{BADE3A05-048E-4B3E-AE6E-AF82914AC5FE}" type="pres">
      <dgm:prSet presAssocID="{22A9C8C7-F5B2-47F8-9266-7D3C5B78203D}" presName="compNode" presStyleCnt="0"/>
      <dgm:spPr/>
    </dgm:pt>
    <dgm:pt modelId="{B9A615F9-4B41-4A9E-B2E1-37E1E8A3C4E0}" type="pres">
      <dgm:prSet presAssocID="{22A9C8C7-F5B2-47F8-9266-7D3C5B78203D}" presName="bgRect" presStyleLbl="bgShp" presStyleIdx="1" presStyleCnt="5"/>
      <dgm:spPr/>
    </dgm:pt>
    <dgm:pt modelId="{4ABF02F5-C0DC-4756-9F1A-E5A4EAD919C2}" type="pres">
      <dgm:prSet presAssocID="{22A9C8C7-F5B2-47F8-9266-7D3C5B78203D}" presName="iconRect" presStyleLbl="node1" presStyleIdx="1" presStyleCnt="5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CC88A1C8-9C03-4BD8-9CC2-E1C354D8688C}" type="pres">
      <dgm:prSet presAssocID="{22A9C8C7-F5B2-47F8-9266-7D3C5B78203D}" presName="spaceRect" presStyleCnt="0"/>
      <dgm:spPr/>
    </dgm:pt>
    <dgm:pt modelId="{D0D8196F-B337-4AF8-AF88-96A24CCD0947}" type="pres">
      <dgm:prSet presAssocID="{22A9C8C7-F5B2-47F8-9266-7D3C5B78203D}" presName="parTx" presStyleLbl="revTx" presStyleIdx="1" presStyleCnt="5">
        <dgm:presLayoutVars>
          <dgm:chMax val="0"/>
          <dgm:chPref val="0"/>
        </dgm:presLayoutVars>
      </dgm:prSet>
      <dgm:spPr/>
    </dgm:pt>
    <dgm:pt modelId="{072046E2-E012-4B1D-BA88-3C3FFF5D161E}" type="pres">
      <dgm:prSet presAssocID="{8DD8678B-BA49-4419-9EBE-3976039D4D32}" presName="sibTrans" presStyleCnt="0"/>
      <dgm:spPr/>
    </dgm:pt>
    <dgm:pt modelId="{0BF3D3FF-D051-401A-A7E5-E54480F19EC3}" type="pres">
      <dgm:prSet presAssocID="{ABEF426E-B491-40FF-AC15-A987673D5657}" presName="compNode" presStyleCnt="0"/>
      <dgm:spPr/>
    </dgm:pt>
    <dgm:pt modelId="{C835CB1C-8BCF-4E68-BA83-388E026FD4EC}" type="pres">
      <dgm:prSet presAssocID="{ABEF426E-B491-40FF-AC15-A987673D5657}" presName="bgRect" presStyleLbl="bgShp" presStyleIdx="2" presStyleCnt="5"/>
      <dgm:spPr/>
    </dgm:pt>
    <dgm:pt modelId="{C27798A9-D92B-4B89-8A82-E4C56811104B}" type="pres">
      <dgm:prSet presAssocID="{ABEF426E-B491-40FF-AC15-A987673D5657}" presName="iconRect" presStyleLbl="node1" presStyleIdx="2" presStyleCnt="5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326636F0-E6BF-4A70-A614-08B676E89955}" type="pres">
      <dgm:prSet presAssocID="{ABEF426E-B491-40FF-AC15-A987673D5657}" presName="spaceRect" presStyleCnt="0"/>
      <dgm:spPr/>
    </dgm:pt>
    <dgm:pt modelId="{17C93FD6-FE78-4E19-8113-215B862E0B3B}" type="pres">
      <dgm:prSet presAssocID="{ABEF426E-B491-40FF-AC15-A987673D5657}" presName="parTx" presStyleLbl="revTx" presStyleIdx="2" presStyleCnt="5">
        <dgm:presLayoutVars>
          <dgm:chMax val="0"/>
          <dgm:chPref val="0"/>
        </dgm:presLayoutVars>
      </dgm:prSet>
      <dgm:spPr/>
    </dgm:pt>
    <dgm:pt modelId="{89ECC8D6-3C42-4372-9545-E1073DDBD09E}" type="pres">
      <dgm:prSet presAssocID="{FD32A3B9-A8D0-4359-AAD4-1E7566649D87}" presName="sibTrans" presStyleCnt="0"/>
      <dgm:spPr/>
    </dgm:pt>
    <dgm:pt modelId="{2C2ADB25-1C59-4816-BAB3-2E4B1D59474A}" type="pres">
      <dgm:prSet presAssocID="{CCB8D15D-723C-4981-B18C-F1466BE1AAB4}" presName="compNode" presStyleCnt="0"/>
      <dgm:spPr/>
    </dgm:pt>
    <dgm:pt modelId="{5337A328-9D44-4FD8-A65D-8843ECCBAEB9}" type="pres">
      <dgm:prSet presAssocID="{CCB8D15D-723C-4981-B18C-F1466BE1AAB4}" presName="bgRect" presStyleLbl="bgShp" presStyleIdx="3" presStyleCnt="5"/>
      <dgm:spPr/>
    </dgm:pt>
    <dgm:pt modelId="{9983B2FA-E8DD-4F67-ABC9-8F64E73C68CB}" type="pres">
      <dgm:prSet presAssocID="{CCB8D15D-723C-4981-B18C-F1466BE1AAB4}" presName="iconRect" presStyleLbl="node1" presStyleIdx="3" presStyleCnt="5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aptop"/>
        </a:ext>
      </dgm:extLst>
    </dgm:pt>
    <dgm:pt modelId="{9B9AB47E-3CD7-4D80-ADC0-A5B8C980E74B}" type="pres">
      <dgm:prSet presAssocID="{CCB8D15D-723C-4981-B18C-F1466BE1AAB4}" presName="spaceRect" presStyleCnt="0"/>
      <dgm:spPr/>
    </dgm:pt>
    <dgm:pt modelId="{35C2D13B-CA3C-42DE-82A0-173555030FAA}" type="pres">
      <dgm:prSet presAssocID="{CCB8D15D-723C-4981-B18C-F1466BE1AAB4}" presName="parTx" presStyleLbl="revTx" presStyleIdx="3" presStyleCnt="5">
        <dgm:presLayoutVars>
          <dgm:chMax val="0"/>
          <dgm:chPref val="0"/>
        </dgm:presLayoutVars>
      </dgm:prSet>
      <dgm:spPr/>
    </dgm:pt>
    <dgm:pt modelId="{214C0D83-6E0E-4943-B0AF-64564C3E3B1F}" type="pres">
      <dgm:prSet presAssocID="{DE020A91-7E26-42CF-BA54-F258A6F62FA1}" presName="sibTrans" presStyleCnt="0"/>
      <dgm:spPr/>
    </dgm:pt>
    <dgm:pt modelId="{95168195-6A59-44AC-8122-BF816058F3B5}" type="pres">
      <dgm:prSet presAssocID="{C9BE8925-93DB-4A77-A7B5-D77AAF1F7F8F}" presName="compNode" presStyleCnt="0"/>
      <dgm:spPr/>
    </dgm:pt>
    <dgm:pt modelId="{5615F553-8E0E-46E9-AADF-90659E3BED77}" type="pres">
      <dgm:prSet presAssocID="{C9BE8925-93DB-4A77-A7B5-D77AAF1F7F8F}" presName="bgRect" presStyleLbl="bgShp" presStyleIdx="4" presStyleCnt="5"/>
      <dgm:spPr/>
    </dgm:pt>
    <dgm:pt modelId="{988E9CB8-CF0C-4630-B17A-A79A810C1ED3}" type="pres">
      <dgm:prSet presAssocID="{C9BE8925-93DB-4A77-A7B5-D77AAF1F7F8F}" presName="iconRect" presStyleLbl="node1" presStyleIdx="4" presStyleCnt="5"/>
      <dgm:spPr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7873AEB0-5035-448D-A86A-F7B446CA5B10}" type="pres">
      <dgm:prSet presAssocID="{C9BE8925-93DB-4A77-A7B5-D77AAF1F7F8F}" presName="spaceRect" presStyleCnt="0"/>
      <dgm:spPr/>
    </dgm:pt>
    <dgm:pt modelId="{33CD02C7-6B37-4267-AC58-EE3D761DFA40}" type="pres">
      <dgm:prSet presAssocID="{C9BE8925-93DB-4A77-A7B5-D77AAF1F7F8F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E3682313-AAF8-48B5-9CAE-0EC9DBA8AC38}" type="presOf" srcId="{092B2B0B-E1EB-413E-9DDA-E947D59F25D8}" destId="{9CC28595-DE9C-4D9D-A4A9-237FAAB25E9F}" srcOrd="0" destOrd="0" presId="urn:microsoft.com/office/officeart/2018/2/layout/IconVerticalSolidList"/>
    <dgm:cxn modelId="{1FD0491C-29F0-46D5-BCB6-432F58E9D832}" srcId="{092B2B0B-E1EB-413E-9DDA-E947D59F25D8}" destId="{CCB8D15D-723C-4981-B18C-F1466BE1AAB4}" srcOrd="3" destOrd="0" parTransId="{65CA7CE1-41FE-4B30-966E-96DEDA3457DA}" sibTransId="{DE020A91-7E26-42CF-BA54-F258A6F62FA1}"/>
    <dgm:cxn modelId="{0CC5B961-7A65-4F71-A10E-085849CD1382}" type="presOf" srcId="{22A9C8C7-F5B2-47F8-9266-7D3C5B78203D}" destId="{D0D8196F-B337-4AF8-AF88-96A24CCD0947}" srcOrd="0" destOrd="0" presId="urn:microsoft.com/office/officeart/2018/2/layout/IconVerticalSolidList"/>
    <dgm:cxn modelId="{08283577-9E7F-424F-9F9B-626E2AB1D018}" type="presOf" srcId="{C9BE8925-93DB-4A77-A7B5-D77AAF1F7F8F}" destId="{33CD02C7-6B37-4267-AC58-EE3D761DFA40}" srcOrd="0" destOrd="0" presId="urn:microsoft.com/office/officeart/2018/2/layout/IconVerticalSolidList"/>
    <dgm:cxn modelId="{66D3E18C-0B0C-4B1C-B1EF-E623E12AA24C}" srcId="{092B2B0B-E1EB-413E-9DDA-E947D59F25D8}" destId="{ABEF426E-B491-40FF-AC15-A987673D5657}" srcOrd="2" destOrd="0" parTransId="{030946D5-5CF2-4290-A76A-0674D8E41067}" sibTransId="{FD32A3B9-A8D0-4359-AAD4-1E7566649D87}"/>
    <dgm:cxn modelId="{B415BE9B-358B-4A65-B0BB-543CB2D0E032}" srcId="{092B2B0B-E1EB-413E-9DDA-E947D59F25D8}" destId="{C9BE8925-93DB-4A77-A7B5-D77AAF1F7F8F}" srcOrd="4" destOrd="0" parTransId="{C719A9D3-2F1E-42D8-BCE8-ACFAB380378B}" sibTransId="{019C1C66-502C-4B34-9CFE-5A235A780816}"/>
    <dgm:cxn modelId="{4B88C9A8-A9FD-4844-94CF-A5870E537ACE}" type="presOf" srcId="{E1C93713-C3EB-49CB-91FC-6AE222C01E06}" destId="{0CAE225C-FE04-4CE9-A9A3-60CAC3219064}" srcOrd="0" destOrd="0" presId="urn:microsoft.com/office/officeart/2018/2/layout/IconVerticalSolidList"/>
    <dgm:cxn modelId="{DEFD1AA9-127B-4449-A581-39F72D42AABE}" type="presOf" srcId="{ABEF426E-B491-40FF-AC15-A987673D5657}" destId="{17C93FD6-FE78-4E19-8113-215B862E0B3B}" srcOrd="0" destOrd="0" presId="urn:microsoft.com/office/officeart/2018/2/layout/IconVerticalSolidList"/>
    <dgm:cxn modelId="{417E77D2-2844-4756-B3DC-2328CC82AE64}" srcId="{092B2B0B-E1EB-413E-9DDA-E947D59F25D8}" destId="{E1C93713-C3EB-49CB-91FC-6AE222C01E06}" srcOrd="0" destOrd="0" parTransId="{017DDF6E-A81F-4ED1-9A22-704725CF3315}" sibTransId="{681B1666-B7DC-46FF-865C-E7E4408A3128}"/>
    <dgm:cxn modelId="{68ACB6E8-AC02-4B8C-9035-41F674AA3C1B}" type="presOf" srcId="{CCB8D15D-723C-4981-B18C-F1466BE1AAB4}" destId="{35C2D13B-CA3C-42DE-82A0-173555030FAA}" srcOrd="0" destOrd="0" presId="urn:microsoft.com/office/officeart/2018/2/layout/IconVerticalSolidList"/>
    <dgm:cxn modelId="{E331CCFB-8655-40AB-A8B0-C2D8CAF50BB7}" srcId="{092B2B0B-E1EB-413E-9DDA-E947D59F25D8}" destId="{22A9C8C7-F5B2-47F8-9266-7D3C5B78203D}" srcOrd="1" destOrd="0" parTransId="{B101DCC5-9DFD-4A6B-BA5C-685F2C04701A}" sibTransId="{8DD8678B-BA49-4419-9EBE-3976039D4D32}"/>
    <dgm:cxn modelId="{1E107F34-59DC-4012-AB29-4E4FC985F8AB}" type="presParOf" srcId="{9CC28595-DE9C-4D9D-A4A9-237FAAB25E9F}" destId="{06304710-C377-43C6-8E6B-236B8C9860A1}" srcOrd="0" destOrd="0" presId="urn:microsoft.com/office/officeart/2018/2/layout/IconVerticalSolidList"/>
    <dgm:cxn modelId="{85FEACF7-A376-4C3A-A083-F240CAB11952}" type="presParOf" srcId="{06304710-C377-43C6-8E6B-236B8C9860A1}" destId="{93202B0C-73E3-4FE0-AE31-9D4E51D7D38F}" srcOrd="0" destOrd="0" presId="urn:microsoft.com/office/officeart/2018/2/layout/IconVerticalSolidList"/>
    <dgm:cxn modelId="{16A9B616-8DE4-4D0E-8789-DAE8E9228BDB}" type="presParOf" srcId="{06304710-C377-43C6-8E6B-236B8C9860A1}" destId="{77F77850-9AEC-4F25-AA31-E89395EE4FF0}" srcOrd="1" destOrd="0" presId="urn:microsoft.com/office/officeart/2018/2/layout/IconVerticalSolidList"/>
    <dgm:cxn modelId="{8401C5A2-1726-4D9F-A530-9CA8B275C4D8}" type="presParOf" srcId="{06304710-C377-43C6-8E6B-236B8C9860A1}" destId="{4986EA0F-85C0-4BF9-AB83-958EC624E790}" srcOrd="2" destOrd="0" presId="urn:microsoft.com/office/officeart/2018/2/layout/IconVerticalSolidList"/>
    <dgm:cxn modelId="{D0EDF2C1-8B15-4622-B422-32E414A243EA}" type="presParOf" srcId="{06304710-C377-43C6-8E6B-236B8C9860A1}" destId="{0CAE225C-FE04-4CE9-A9A3-60CAC3219064}" srcOrd="3" destOrd="0" presId="urn:microsoft.com/office/officeart/2018/2/layout/IconVerticalSolidList"/>
    <dgm:cxn modelId="{C0F55A2F-EEB1-4FD5-A41A-0B16AA70AEC8}" type="presParOf" srcId="{9CC28595-DE9C-4D9D-A4A9-237FAAB25E9F}" destId="{579B1BF8-459F-4645-BFA4-A14708C9DD28}" srcOrd="1" destOrd="0" presId="urn:microsoft.com/office/officeart/2018/2/layout/IconVerticalSolidList"/>
    <dgm:cxn modelId="{CEEBBE07-3F05-487E-B529-326983F01D57}" type="presParOf" srcId="{9CC28595-DE9C-4D9D-A4A9-237FAAB25E9F}" destId="{BADE3A05-048E-4B3E-AE6E-AF82914AC5FE}" srcOrd="2" destOrd="0" presId="urn:microsoft.com/office/officeart/2018/2/layout/IconVerticalSolidList"/>
    <dgm:cxn modelId="{E09F4697-5A00-4E1C-9DCE-F3932D6D4C75}" type="presParOf" srcId="{BADE3A05-048E-4B3E-AE6E-AF82914AC5FE}" destId="{B9A615F9-4B41-4A9E-B2E1-37E1E8A3C4E0}" srcOrd="0" destOrd="0" presId="urn:microsoft.com/office/officeart/2018/2/layout/IconVerticalSolidList"/>
    <dgm:cxn modelId="{B06C319E-134B-4A39-9705-E1DDD5DEB78C}" type="presParOf" srcId="{BADE3A05-048E-4B3E-AE6E-AF82914AC5FE}" destId="{4ABF02F5-C0DC-4756-9F1A-E5A4EAD919C2}" srcOrd="1" destOrd="0" presId="urn:microsoft.com/office/officeart/2018/2/layout/IconVerticalSolidList"/>
    <dgm:cxn modelId="{2855CE38-3011-4F98-AD3A-23CF6042EFE1}" type="presParOf" srcId="{BADE3A05-048E-4B3E-AE6E-AF82914AC5FE}" destId="{CC88A1C8-9C03-4BD8-9CC2-E1C354D8688C}" srcOrd="2" destOrd="0" presId="urn:microsoft.com/office/officeart/2018/2/layout/IconVerticalSolidList"/>
    <dgm:cxn modelId="{A1224ED7-EB36-4A3B-8C25-E447F138A0EE}" type="presParOf" srcId="{BADE3A05-048E-4B3E-AE6E-AF82914AC5FE}" destId="{D0D8196F-B337-4AF8-AF88-96A24CCD0947}" srcOrd="3" destOrd="0" presId="urn:microsoft.com/office/officeart/2018/2/layout/IconVerticalSolidList"/>
    <dgm:cxn modelId="{89DC460D-9F77-404B-80F1-30904CBABA4C}" type="presParOf" srcId="{9CC28595-DE9C-4D9D-A4A9-237FAAB25E9F}" destId="{072046E2-E012-4B1D-BA88-3C3FFF5D161E}" srcOrd="3" destOrd="0" presId="urn:microsoft.com/office/officeart/2018/2/layout/IconVerticalSolidList"/>
    <dgm:cxn modelId="{5EFF31E7-F649-46C2-AF8B-3D842A1EC468}" type="presParOf" srcId="{9CC28595-DE9C-4D9D-A4A9-237FAAB25E9F}" destId="{0BF3D3FF-D051-401A-A7E5-E54480F19EC3}" srcOrd="4" destOrd="0" presId="urn:microsoft.com/office/officeart/2018/2/layout/IconVerticalSolidList"/>
    <dgm:cxn modelId="{055AD89D-0AA5-42D4-83F4-DDCC51631FF8}" type="presParOf" srcId="{0BF3D3FF-D051-401A-A7E5-E54480F19EC3}" destId="{C835CB1C-8BCF-4E68-BA83-388E026FD4EC}" srcOrd="0" destOrd="0" presId="urn:microsoft.com/office/officeart/2018/2/layout/IconVerticalSolidList"/>
    <dgm:cxn modelId="{77C9ADB9-D966-4B10-A866-F4A7728D3857}" type="presParOf" srcId="{0BF3D3FF-D051-401A-A7E5-E54480F19EC3}" destId="{C27798A9-D92B-4B89-8A82-E4C56811104B}" srcOrd="1" destOrd="0" presId="urn:microsoft.com/office/officeart/2018/2/layout/IconVerticalSolidList"/>
    <dgm:cxn modelId="{66A4CF1C-2BE5-4CEA-A974-ADD7389D11CA}" type="presParOf" srcId="{0BF3D3FF-D051-401A-A7E5-E54480F19EC3}" destId="{326636F0-E6BF-4A70-A614-08B676E89955}" srcOrd="2" destOrd="0" presId="urn:microsoft.com/office/officeart/2018/2/layout/IconVerticalSolidList"/>
    <dgm:cxn modelId="{508EC50C-42EB-46D1-A24F-C4DFBC59EA03}" type="presParOf" srcId="{0BF3D3FF-D051-401A-A7E5-E54480F19EC3}" destId="{17C93FD6-FE78-4E19-8113-215B862E0B3B}" srcOrd="3" destOrd="0" presId="urn:microsoft.com/office/officeart/2018/2/layout/IconVerticalSolidList"/>
    <dgm:cxn modelId="{52AFDE7F-37E5-41CA-BC78-4E59F3DFE8CC}" type="presParOf" srcId="{9CC28595-DE9C-4D9D-A4A9-237FAAB25E9F}" destId="{89ECC8D6-3C42-4372-9545-E1073DDBD09E}" srcOrd="5" destOrd="0" presId="urn:microsoft.com/office/officeart/2018/2/layout/IconVerticalSolidList"/>
    <dgm:cxn modelId="{0D733A39-00E3-45D7-9E5B-EA7A0C7EAAD5}" type="presParOf" srcId="{9CC28595-DE9C-4D9D-A4A9-237FAAB25E9F}" destId="{2C2ADB25-1C59-4816-BAB3-2E4B1D59474A}" srcOrd="6" destOrd="0" presId="urn:microsoft.com/office/officeart/2018/2/layout/IconVerticalSolidList"/>
    <dgm:cxn modelId="{C903974A-BA35-4C3D-A0C2-FD73D657AA45}" type="presParOf" srcId="{2C2ADB25-1C59-4816-BAB3-2E4B1D59474A}" destId="{5337A328-9D44-4FD8-A65D-8843ECCBAEB9}" srcOrd="0" destOrd="0" presId="urn:microsoft.com/office/officeart/2018/2/layout/IconVerticalSolidList"/>
    <dgm:cxn modelId="{A4A68F70-E816-41C1-9B2A-0C0739850FD3}" type="presParOf" srcId="{2C2ADB25-1C59-4816-BAB3-2E4B1D59474A}" destId="{9983B2FA-E8DD-4F67-ABC9-8F64E73C68CB}" srcOrd="1" destOrd="0" presId="urn:microsoft.com/office/officeart/2018/2/layout/IconVerticalSolidList"/>
    <dgm:cxn modelId="{C35C744C-9955-4508-899C-4560DAE1B6AF}" type="presParOf" srcId="{2C2ADB25-1C59-4816-BAB3-2E4B1D59474A}" destId="{9B9AB47E-3CD7-4D80-ADC0-A5B8C980E74B}" srcOrd="2" destOrd="0" presId="urn:microsoft.com/office/officeart/2018/2/layout/IconVerticalSolidList"/>
    <dgm:cxn modelId="{915469F3-600D-46BC-B6BF-A41D4D9CE1D3}" type="presParOf" srcId="{2C2ADB25-1C59-4816-BAB3-2E4B1D59474A}" destId="{35C2D13B-CA3C-42DE-82A0-173555030FAA}" srcOrd="3" destOrd="0" presId="urn:microsoft.com/office/officeart/2018/2/layout/IconVerticalSolidList"/>
    <dgm:cxn modelId="{259454CE-43A3-4473-8C7A-83D9F346A2B5}" type="presParOf" srcId="{9CC28595-DE9C-4D9D-A4A9-237FAAB25E9F}" destId="{214C0D83-6E0E-4943-B0AF-64564C3E3B1F}" srcOrd="7" destOrd="0" presId="urn:microsoft.com/office/officeart/2018/2/layout/IconVerticalSolidList"/>
    <dgm:cxn modelId="{50FE7203-B986-4D1E-9113-AF9340462F66}" type="presParOf" srcId="{9CC28595-DE9C-4D9D-A4A9-237FAAB25E9F}" destId="{95168195-6A59-44AC-8122-BF816058F3B5}" srcOrd="8" destOrd="0" presId="urn:microsoft.com/office/officeart/2018/2/layout/IconVerticalSolidList"/>
    <dgm:cxn modelId="{0DD3EB9C-161A-4015-9A4D-C46C63ADD1DE}" type="presParOf" srcId="{95168195-6A59-44AC-8122-BF816058F3B5}" destId="{5615F553-8E0E-46E9-AADF-90659E3BED77}" srcOrd="0" destOrd="0" presId="urn:microsoft.com/office/officeart/2018/2/layout/IconVerticalSolidList"/>
    <dgm:cxn modelId="{EC25F975-AFE3-42A4-AC79-A34E4B0BA807}" type="presParOf" srcId="{95168195-6A59-44AC-8122-BF816058F3B5}" destId="{988E9CB8-CF0C-4630-B17A-A79A810C1ED3}" srcOrd="1" destOrd="0" presId="urn:microsoft.com/office/officeart/2018/2/layout/IconVerticalSolidList"/>
    <dgm:cxn modelId="{9EA8675C-3B26-4083-BC48-BA4029B2A6F9}" type="presParOf" srcId="{95168195-6A59-44AC-8122-BF816058F3B5}" destId="{7873AEB0-5035-448D-A86A-F7B446CA5B10}" srcOrd="2" destOrd="0" presId="urn:microsoft.com/office/officeart/2018/2/layout/IconVerticalSolidList"/>
    <dgm:cxn modelId="{BE25714D-04B7-4C10-BEF8-F6509007A412}" type="presParOf" srcId="{95168195-6A59-44AC-8122-BF816058F3B5}" destId="{33CD02C7-6B37-4267-AC58-EE3D761DFA4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461405-E899-4BDA-847F-F09BF45A07B4}" type="doc">
      <dgm:prSet loTypeId="urn:microsoft.com/office/officeart/2005/8/layout/matrix3" loCatId="matrix" qsTypeId="urn:microsoft.com/office/officeart/2005/8/quickstyle/simple1" qsCatId="simple" csTypeId="urn:microsoft.com/office/officeart/2005/8/colors/accent6_3" csCatId="accent6"/>
      <dgm:spPr/>
      <dgm:t>
        <a:bodyPr/>
        <a:lstStyle/>
        <a:p>
          <a:endParaRPr lang="en-US"/>
        </a:p>
      </dgm:t>
    </dgm:pt>
    <dgm:pt modelId="{C506C446-71DD-4800-B9EC-2CEA261C85FC}">
      <dgm:prSet/>
      <dgm:spPr/>
      <dgm:t>
        <a:bodyPr/>
        <a:lstStyle/>
        <a:p>
          <a:r>
            <a:rPr lang="en-US"/>
            <a:t>All physicians and providers, nurses, ancillary clinicians and hospital staff completing E-Modules</a:t>
          </a:r>
        </a:p>
      </dgm:t>
    </dgm:pt>
    <dgm:pt modelId="{4C2E3476-1054-4346-8AF3-3D194482C959}" type="parTrans" cxnId="{6308D8C5-CE60-477D-B2F1-2368EED27DEE}">
      <dgm:prSet/>
      <dgm:spPr/>
      <dgm:t>
        <a:bodyPr/>
        <a:lstStyle/>
        <a:p>
          <a:endParaRPr lang="en-US"/>
        </a:p>
      </dgm:t>
    </dgm:pt>
    <dgm:pt modelId="{5DC9CBD3-78FA-49E7-A51F-DE4246B3DA63}" type="sibTrans" cxnId="{6308D8C5-CE60-477D-B2F1-2368EED27DEE}">
      <dgm:prSet/>
      <dgm:spPr/>
      <dgm:t>
        <a:bodyPr/>
        <a:lstStyle/>
        <a:p>
          <a:endParaRPr lang="en-US"/>
        </a:p>
      </dgm:t>
    </dgm:pt>
    <dgm:pt modelId="{1DC724A3-F71F-4F3F-AFE3-F7645972F1CE}">
      <dgm:prSet/>
      <dgm:spPr/>
      <dgm:t>
        <a:bodyPr/>
        <a:lstStyle/>
        <a:p>
          <a:r>
            <a:rPr lang="en-US"/>
            <a:t>At least 1 ESSI Team Member attends PQI training</a:t>
          </a:r>
        </a:p>
      </dgm:t>
    </dgm:pt>
    <dgm:pt modelId="{67C454AB-2859-4AB7-8FB9-9BC35E3A64B3}" type="parTrans" cxnId="{21D545AB-C03E-4E70-BAEE-1FED7D8D86C7}">
      <dgm:prSet/>
      <dgm:spPr/>
      <dgm:t>
        <a:bodyPr/>
        <a:lstStyle/>
        <a:p>
          <a:endParaRPr lang="en-US"/>
        </a:p>
      </dgm:t>
    </dgm:pt>
    <dgm:pt modelId="{F556B796-6A17-4FBF-876D-33639BDC9B0C}" type="sibTrans" cxnId="{21D545AB-C03E-4E70-BAEE-1FED7D8D86C7}">
      <dgm:prSet/>
      <dgm:spPr/>
      <dgm:t>
        <a:bodyPr/>
        <a:lstStyle/>
        <a:p>
          <a:endParaRPr lang="en-US"/>
        </a:p>
      </dgm:t>
    </dgm:pt>
    <dgm:pt modelId="{96C2D5B1-7D7A-44AB-9200-C205C1AB0DB9}">
      <dgm:prSet/>
      <dgm:spPr/>
      <dgm:t>
        <a:bodyPr/>
        <a:lstStyle/>
        <a:p>
          <a:r>
            <a:rPr lang="en-US">
              <a:latin typeface="Calibri" panose="020F0502020204030204"/>
            </a:rPr>
            <a:t>Host</a:t>
          </a:r>
          <a:r>
            <a:rPr lang="en-US"/>
            <a:t> at least 1 facilitated discussion</a:t>
          </a:r>
        </a:p>
      </dgm:t>
    </dgm:pt>
    <dgm:pt modelId="{FD6D8808-A2D2-412C-A027-21AC214AC556}" type="parTrans" cxnId="{5E14390E-470A-471F-808D-6FB89FB9E32E}">
      <dgm:prSet/>
      <dgm:spPr/>
      <dgm:t>
        <a:bodyPr/>
        <a:lstStyle/>
        <a:p>
          <a:endParaRPr lang="en-US"/>
        </a:p>
      </dgm:t>
    </dgm:pt>
    <dgm:pt modelId="{F80A90AF-3AB4-4B6F-92D4-B1DADA57C58A}" type="sibTrans" cxnId="{5E14390E-470A-471F-808D-6FB89FB9E32E}">
      <dgm:prSet/>
      <dgm:spPr/>
      <dgm:t>
        <a:bodyPr/>
        <a:lstStyle/>
        <a:p>
          <a:endParaRPr lang="en-US"/>
        </a:p>
      </dgm:t>
    </dgm:pt>
    <dgm:pt modelId="{EBBB3B80-A652-4DFE-8F42-F51CB5F1ABA6}">
      <dgm:prSet/>
      <dgm:spPr/>
      <dgm:t>
        <a:bodyPr/>
        <a:lstStyle/>
        <a:p>
          <a:r>
            <a:rPr lang="en-US"/>
            <a:t>System to facilitate feedback from peers, parents and families </a:t>
          </a:r>
        </a:p>
      </dgm:t>
    </dgm:pt>
    <dgm:pt modelId="{C9CAF60A-DBCB-4185-8364-2078B6C5877C}" type="parTrans" cxnId="{FEE82698-6CFA-409B-B2DE-0542393030E1}">
      <dgm:prSet/>
      <dgm:spPr/>
      <dgm:t>
        <a:bodyPr/>
        <a:lstStyle/>
        <a:p>
          <a:endParaRPr lang="en-US"/>
        </a:p>
      </dgm:t>
    </dgm:pt>
    <dgm:pt modelId="{6A7AE82A-1D30-4856-B8D8-B577693E5F01}" type="sibTrans" cxnId="{FEE82698-6CFA-409B-B2DE-0542393030E1}">
      <dgm:prSet/>
      <dgm:spPr/>
      <dgm:t>
        <a:bodyPr/>
        <a:lstStyle/>
        <a:p>
          <a:endParaRPr lang="en-US"/>
        </a:p>
      </dgm:t>
    </dgm:pt>
    <dgm:pt modelId="{8A4FCF69-8464-4DFD-9845-403303830469}" type="pres">
      <dgm:prSet presAssocID="{9C461405-E899-4BDA-847F-F09BF45A07B4}" presName="matrix" presStyleCnt="0">
        <dgm:presLayoutVars>
          <dgm:chMax val="1"/>
          <dgm:dir/>
          <dgm:resizeHandles val="exact"/>
        </dgm:presLayoutVars>
      </dgm:prSet>
      <dgm:spPr/>
    </dgm:pt>
    <dgm:pt modelId="{57131C6F-7311-4A33-A9DE-E1E3BE163BA6}" type="pres">
      <dgm:prSet presAssocID="{9C461405-E899-4BDA-847F-F09BF45A07B4}" presName="diamond" presStyleLbl="bgShp" presStyleIdx="0" presStyleCnt="1"/>
      <dgm:spPr>
        <a:solidFill>
          <a:srgbClr val="8AE3A9"/>
        </a:solidFill>
      </dgm:spPr>
    </dgm:pt>
    <dgm:pt modelId="{D0017B62-974B-4CCC-82D4-15FD309F3A58}" type="pres">
      <dgm:prSet presAssocID="{9C461405-E899-4BDA-847F-F09BF45A07B4}" presName="quad1" presStyleLbl="node1" presStyleIdx="0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67399538-B1C4-4C02-AA54-EC019EDC318E}" type="pres">
      <dgm:prSet presAssocID="{9C461405-E899-4BDA-847F-F09BF45A07B4}" presName="quad2" presStyleLbl="node1" presStyleIdx="1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AD986641-CB14-4D63-8E1D-83F37749B4CF}" type="pres">
      <dgm:prSet presAssocID="{9C461405-E899-4BDA-847F-F09BF45A07B4}" presName="quad3" presStyleLbl="node1" presStyleIdx="2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41B30F7D-63E8-4828-A2D7-8618F5B94D35}" type="pres">
      <dgm:prSet presAssocID="{9C461405-E899-4BDA-847F-F09BF45A07B4}" presName="quad4" presStyleLbl="node1" presStyleIdx="3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</dgm:ptLst>
  <dgm:cxnLst>
    <dgm:cxn modelId="{5E14390E-470A-471F-808D-6FB89FB9E32E}" srcId="{9C461405-E899-4BDA-847F-F09BF45A07B4}" destId="{96C2D5B1-7D7A-44AB-9200-C205C1AB0DB9}" srcOrd="2" destOrd="0" parTransId="{FD6D8808-A2D2-412C-A027-21AC214AC556}" sibTransId="{F80A90AF-3AB4-4B6F-92D4-B1DADA57C58A}"/>
    <dgm:cxn modelId="{6163A62B-48A7-4DC1-B5F4-F1597CCECEFE}" type="presOf" srcId="{C506C446-71DD-4800-B9EC-2CEA261C85FC}" destId="{D0017B62-974B-4CCC-82D4-15FD309F3A58}" srcOrd="0" destOrd="0" presId="urn:microsoft.com/office/officeart/2005/8/layout/matrix3"/>
    <dgm:cxn modelId="{F9CA6B58-6F21-4D40-999A-3466A3505006}" type="presOf" srcId="{EBBB3B80-A652-4DFE-8F42-F51CB5F1ABA6}" destId="{41B30F7D-63E8-4828-A2D7-8618F5B94D35}" srcOrd="0" destOrd="0" presId="urn:microsoft.com/office/officeart/2005/8/layout/matrix3"/>
    <dgm:cxn modelId="{0758D263-0CAF-488C-9082-B3EE43A4558E}" type="presOf" srcId="{1DC724A3-F71F-4F3F-AFE3-F7645972F1CE}" destId="{67399538-B1C4-4C02-AA54-EC019EDC318E}" srcOrd="0" destOrd="0" presId="urn:microsoft.com/office/officeart/2005/8/layout/matrix3"/>
    <dgm:cxn modelId="{BB794B6B-3CB8-4C51-8C71-BBAD81A09081}" type="presOf" srcId="{96C2D5B1-7D7A-44AB-9200-C205C1AB0DB9}" destId="{AD986641-CB14-4D63-8E1D-83F37749B4CF}" srcOrd="0" destOrd="0" presId="urn:microsoft.com/office/officeart/2005/8/layout/matrix3"/>
    <dgm:cxn modelId="{FEE82698-6CFA-409B-B2DE-0542393030E1}" srcId="{9C461405-E899-4BDA-847F-F09BF45A07B4}" destId="{EBBB3B80-A652-4DFE-8F42-F51CB5F1ABA6}" srcOrd="3" destOrd="0" parTransId="{C9CAF60A-DBCB-4185-8364-2078B6C5877C}" sibTransId="{6A7AE82A-1D30-4856-B8D8-B577693E5F01}"/>
    <dgm:cxn modelId="{21D545AB-C03E-4E70-BAEE-1FED7D8D86C7}" srcId="{9C461405-E899-4BDA-847F-F09BF45A07B4}" destId="{1DC724A3-F71F-4F3F-AFE3-F7645972F1CE}" srcOrd="1" destOrd="0" parTransId="{67C454AB-2859-4AB7-8FB9-9BC35E3A64B3}" sibTransId="{F556B796-6A17-4FBF-876D-33639BDC9B0C}"/>
    <dgm:cxn modelId="{6308D8C5-CE60-477D-B2F1-2368EED27DEE}" srcId="{9C461405-E899-4BDA-847F-F09BF45A07B4}" destId="{C506C446-71DD-4800-B9EC-2CEA261C85FC}" srcOrd="0" destOrd="0" parTransId="{4C2E3476-1054-4346-8AF3-3D194482C959}" sibTransId="{5DC9CBD3-78FA-49E7-A51F-DE4246B3DA63}"/>
    <dgm:cxn modelId="{D8D9F3FF-9BD3-4727-9BE0-440405D2D04F}" type="presOf" srcId="{9C461405-E899-4BDA-847F-F09BF45A07B4}" destId="{8A4FCF69-8464-4DFD-9845-403303830469}" srcOrd="0" destOrd="0" presId="urn:microsoft.com/office/officeart/2005/8/layout/matrix3"/>
    <dgm:cxn modelId="{F8ED9327-13BC-4E5D-9B68-9B7C785559C1}" type="presParOf" srcId="{8A4FCF69-8464-4DFD-9845-403303830469}" destId="{57131C6F-7311-4A33-A9DE-E1E3BE163BA6}" srcOrd="0" destOrd="0" presId="urn:microsoft.com/office/officeart/2005/8/layout/matrix3"/>
    <dgm:cxn modelId="{3C919753-5DC8-471A-9967-9D6AD1EF2873}" type="presParOf" srcId="{8A4FCF69-8464-4DFD-9845-403303830469}" destId="{D0017B62-974B-4CCC-82D4-15FD309F3A58}" srcOrd="1" destOrd="0" presId="urn:microsoft.com/office/officeart/2005/8/layout/matrix3"/>
    <dgm:cxn modelId="{92FF728B-F551-49E1-969B-B654FD5AEF4F}" type="presParOf" srcId="{8A4FCF69-8464-4DFD-9845-403303830469}" destId="{67399538-B1C4-4C02-AA54-EC019EDC318E}" srcOrd="2" destOrd="0" presId="urn:microsoft.com/office/officeart/2005/8/layout/matrix3"/>
    <dgm:cxn modelId="{A38C6C2E-6B7A-43AF-946B-CBA9890BE76F}" type="presParOf" srcId="{8A4FCF69-8464-4DFD-9845-403303830469}" destId="{AD986641-CB14-4D63-8E1D-83F37749B4CF}" srcOrd="3" destOrd="0" presId="urn:microsoft.com/office/officeart/2005/8/layout/matrix3"/>
    <dgm:cxn modelId="{67665BB7-7355-41B9-A9E9-D59E54DB3731}" type="presParOf" srcId="{8A4FCF69-8464-4DFD-9845-403303830469}" destId="{41B30F7D-63E8-4828-A2D7-8618F5B94D35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DE52023-F543-4910-8BB4-9ADD1AC2B789}" type="doc">
      <dgm:prSet loTypeId="urn:microsoft.com/office/officeart/2016/7/layout/BasicLinearProcessNumbered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BD685BCA-345B-4BE4-AE5F-C9CC5D4635E2}">
      <dgm:prSet phldr="0"/>
      <dgm:spPr/>
      <dgm:t>
        <a:bodyPr/>
        <a:lstStyle/>
        <a:p>
          <a:pPr rtl="0"/>
          <a:r>
            <a:rPr lang="en-US">
              <a:latin typeface="Calibri"/>
              <a:cs typeface="Calibri"/>
            </a:rPr>
            <a:t>Select cases from those solicited from residents and faculty via email where (1) implicit bias and/or racism played a role in patient outcomes and (2) that were appropriate for further explanation using implicit bias and structural racism as a lens</a:t>
          </a:r>
        </a:p>
      </dgm:t>
    </dgm:pt>
    <dgm:pt modelId="{D18499E0-6AF3-4AB4-8D40-E0D6A316DBC9}" type="parTrans" cxnId="{47534E83-72A9-4959-AB70-B5CB560D2578}">
      <dgm:prSet/>
      <dgm:spPr/>
      <dgm:t>
        <a:bodyPr/>
        <a:lstStyle/>
        <a:p>
          <a:endParaRPr lang="en-US"/>
        </a:p>
      </dgm:t>
    </dgm:pt>
    <dgm:pt modelId="{67A894A5-EB21-4A70-A353-C6F54D17B061}" type="sibTrans" cxnId="{47534E83-72A9-4959-AB70-B5CB560D2578}">
      <dgm:prSet phldrT="1" phldr="0"/>
      <dgm:spPr/>
      <dgm:t>
        <a:bodyPr/>
        <a:lstStyle/>
        <a:p>
          <a:r>
            <a:rPr lang="en-US"/>
            <a:t>1</a:t>
          </a:r>
        </a:p>
      </dgm:t>
    </dgm:pt>
    <dgm:pt modelId="{6FB3FB03-A0C0-4A25-8F8C-E07260BFE540}">
      <dgm:prSet phldr="0"/>
      <dgm:spPr/>
      <dgm:t>
        <a:bodyPr/>
        <a:lstStyle/>
        <a:p>
          <a:pPr rtl="0"/>
          <a:r>
            <a:rPr lang="en-US"/>
            <a:t>Provide advocacy tools to enhance providers' confidence in their abilities to combat bias</a:t>
          </a:r>
          <a:endParaRPr lang="en-US">
            <a:latin typeface="Calibri"/>
            <a:cs typeface="Calibri"/>
          </a:endParaRPr>
        </a:p>
      </dgm:t>
    </dgm:pt>
    <dgm:pt modelId="{78B4FB0E-D68A-404B-9A85-36E952AD2B08}" type="parTrans" cxnId="{613DBD02-6616-4CC3-85A3-2C2841919153}">
      <dgm:prSet/>
      <dgm:spPr/>
      <dgm:t>
        <a:bodyPr/>
        <a:lstStyle/>
        <a:p>
          <a:endParaRPr lang="en-US"/>
        </a:p>
      </dgm:t>
    </dgm:pt>
    <dgm:pt modelId="{58C1FCD5-A852-449E-906B-2CF5A0F473AB}" type="sibTrans" cxnId="{613DBD02-6616-4CC3-85A3-2C2841919153}">
      <dgm:prSet phldrT="3" phldr="0"/>
      <dgm:spPr/>
      <dgm:t>
        <a:bodyPr/>
        <a:lstStyle/>
        <a:p>
          <a:r>
            <a:rPr lang="en-US"/>
            <a:t>3</a:t>
          </a:r>
        </a:p>
      </dgm:t>
    </dgm:pt>
    <dgm:pt modelId="{B7C70AD9-8990-44D4-87A3-9CEA40D3D849}">
      <dgm:prSet phldr="0"/>
      <dgm:spPr/>
      <dgm:t>
        <a:bodyPr/>
        <a:lstStyle/>
        <a:p>
          <a:pPr rtl="0"/>
          <a:r>
            <a:rPr lang="en-US"/>
            <a:t>Present the</a:t>
          </a:r>
          <a:r>
            <a:rPr lang="en-US">
              <a:latin typeface="Aptos Display" panose="020F0302020204030204"/>
            </a:rPr>
            <a:t> selected</a:t>
          </a:r>
          <a:r>
            <a:rPr lang="en-US"/>
            <a:t> medical case</a:t>
          </a:r>
          <a:r>
            <a:rPr lang="en-US">
              <a:latin typeface="Aptos Display" panose="020F0302020204030204"/>
            </a:rPr>
            <a:t> in a Health</a:t>
          </a:r>
          <a:r>
            <a:rPr lang="en-US"/>
            <a:t> </a:t>
          </a:r>
          <a:r>
            <a:rPr lang="en-US">
              <a:latin typeface="Aptos Display" panose="020F0302020204030204"/>
            </a:rPr>
            <a:t>Equity Rounds during</a:t>
          </a:r>
          <a:r>
            <a:rPr lang="en-US"/>
            <a:t> existing or new departmental meetings </a:t>
          </a:r>
          <a:endParaRPr lang="en-US">
            <a:latin typeface="Calibri"/>
            <a:cs typeface="Calibri"/>
          </a:endParaRPr>
        </a:p>
      </dgm:t>
    </dgm:pt>
    <dgm:pt modelId="{EDFC8E7B-AB68-446C-A254-F817039897E7}" type="parTrans" cxnId="{F109EAC3-16E6-4CDC-95C1-8460BABC768D}">
      <dgm:prSet/>
      <dgm:spPr/>
    </dgm:pt>
    <dgm:pt modelId="{887AFE6A-6414-4828-9F61-9960FBACD51F}" type="sibTrans" cxnId="{F109EAC3-16E6-4CDC-95C1-8460BABC768D}">
      <dgm:prSet phldrT="2" phldr="0"/>
      <dgm:spPr/>
      <dgm:t>
        <a:bodyPr/>
        <a:lstStyle/>
        <a:p>
          <a:r>
            <a:rPr lang="en-US"/>
            <a:t>2</a:t>
          </a:r>
        </a:p>
      </dgm:t>
    </dgm:pt>
    <dgm:pt modelId="{9F8A526D-0FB1-4DBB-91D6-7889650AC98C}" type="pres">
      <dgm:prSet presAssocID="{ADE52023-F543-4910-8BB4-9ADD1AC2B789}" presName="Name0" presStyleCnt="0">
        <dgm:presLayoutVars>
          <dgm:animLvl val="lvl"/>
          <dgm:resizeHandles val="exact"/>
        </dgm:presLayoutVars>
      </dgm:prSet>
      <dgm:spPr/>
    </dgm:pt>
    <dgm:pt modelId="{4AAE0283-96F6-45EA-B79C-9EEC9B78D13D}" type="pres">
      <dgm:prSet presAssocID="{BD685BCA-345B-4BE4-AE5F-C9CC5D4635E2}" presName="compositeNode" presStyleCnt="0">
        <dgm:presLayoutVars>
          <dgm:bulletEnabled val="1"/>
        </dgm:presLayoutVars>
      </dgm:prSet>
      <dgm:spPr/>
    </dgm:pt>
    <dgm:pt modelId="{ADCBA07D-2FFC-4844-9439-7ACE1858F8CE}" type="pres">
      <dgm:prSet presAssocID="{BD685BCA-345B-4BE4-AE5F-C9CC5D4635E2}" presName="bgRect" presStyleLbl="bgAccFollowNode1" presStyleIdx="0" presStyleCnt="3"/>
      <dgm:spPr/>
    </dgm:pt>
    <dgm:pt modelId="{CA8BC1A7-1E17-405F-A824-4D23A6F60A0F}" type="pres">
      <dgm:prSet presAssocID="{67A894A5-EB21-4A70-A353-C6F54D17B061}" presName="sibTransNodeCircle" presStyleLbl="alignNode1" presStyleIdx="0" presStyleCnt="6">
        <dgm:presLayoutVars>
          <dgm:chMax val="0"/>
          <dgm:bulletEnabled/>
        </dgm:presLayoutVars>
      </dgm:prSet>
      <dgm:spPr/>
    </dgm:pt>
    <dgm:pt modelId="{D30B1E82-D9E1-4ED4-8BDD-1A4621C3F917}" type="pres">
      <dgm:prSet presAssocID="{BD685BCA-345B-4BE4-AE5F-C9CC5D4635E2}" presName="bottomLine" presStyleLbl="alignNode1" presStyleIdx="1" presStyleCnt="6">
        <dgm:presLayoutVars/>
      </dgm:prSet>
      <dgm:spPr/>
    </dgm:pt>
    <dgm:pt modelId="{C38B8340-0B54-4EA3-89C1-1EBA164AA54E}" type="pres">
      <dgm:prSet presAssocID="{BD685BCA-345B-4BE4-AE5F-C9CC5D4635E2}" presName="nodeText" presStyleLbl="bgAccFollowNode1" presStyleIdx="0" presStyleCnt="3">
        <dgm:presLayoutVars>
          <dgm:bulletEnabled val="1"/>
        </dgm:presLayoutVars>
      </dgm:prSet>
      <dgm:spPr/>
    </dgm:pt>
    <dgm:pt modelId="{1F4CECD1-737D-4D57-A950-1F6F5598B1A6}" type="pres">
      <dgm:prSet presAssocID="{67A894A5-EB21-4A70-A353-C6F54D17B061}" presName="sibTrans" presStyleCnt="0"/>
      <dgm:spPr/>
    </dgm:pt>
    <dgm:pt modelId="{BC1B39FF-EEEA-427F-8F58-D662FBDE0C3B}" type="pres">
      <dgm:prSet presAssocID="{B7C70AD9-8990-44D4-87A3-9CEA40D3D849}" presName="compositeNode" presStyleCnt="0">
        <dgm:presLayoutVars>
          <dgm:bulletEnabled val="1"/>
        </dgm:presLayoutVars>
      </dgm:prSet>
      <dgm:spPr/>
    </dgm:pt>
    <dgm:pt modelId="{13221FAF-1D3E-43E2-B8C1-C873E7548D72}" type="pres">
      <dgm:prSet presAssocID="{B7C70AD9-8990-44D4-87A3-9CEA40D3D849}" presName="bgRect" presStyleLbl="bgAccFollowNode1" presStyleIdx="1" presStyleCnt="3"/>
      <dgm:spPr/>
    </dgm:pt>
    <dgm:pt modelId="{EEE29602-755C-418E-AA74-75C954A25F94}" type="pres">
      <dgm:prSet presAssocID="{887AFE6A-6414-4828-9F61-9960FBACD51F}" presName="sibTransNodeCircle" presStyleLbl="alignNode1" presStyleIdx="2" presStyleCnt="6">
        <dgm:presLayoutVars>
          <dgm:chMax val="0"/>
          <dgm:bulletEnabled/>
        </dgm:presLayoutVars>
      </dgm:prSet>
      <dgm:spPr/>
    </dgm:pt>
    <dgm:pt modelId="{9F636BA9-B9C5-4782-8C62-AE4D5509E509}" type="pres">
      <dgm:prSet presAssocID="{B7C70AD9-8990-44D4-87A3-9CEA40D3D849}" presName="bottomLine" presStyleLbl="alignNode1" presStyleIdx="3" presStyleCnt="6">
        <dgm:presLayoutVars/>
      </dgm:prSet>
      <dgm:spPr/>
    </dgm:pt>
    <dgm:pt modelId="{3FD1D28C-342C-49BA-BAC4-2FB7B55ACA1D}" type="pres">
      <dgm:prSet presAssocID="{B7C70AD9-8990-44D4-87A3-9CEA40D3D849}" presName="nodeText" presStyleLbl="bgAccFollowNode1" presStyleIdx="1" presStyleCnt="3">
        <dgm:presLayoutVars>
          <dgm:bulletEnabled val="1"/>
        </dgm:presLayoutVars>
      </dgm:prSet>
      <dgm:spPr/>
    </dgm:pt>
    <dgm:pt modelId="{215F6D53-F3B0-4293-B4CA-505F22A57BE2}" type="pres">
      <dgm:prSet presAssocID="{887AFE6A-6414-4828-9F61-9960FBACD51F}" presName="sibTrans" presStyleCnt="0"/>
      <dgm:spPr/>
    </dgm:pt>
    <dgm:pt modelId="{BFBC1FE6-813A-4808-B548-68E6E0180618}" type="pres">
      <dgm:prSet presAssocID="{6FB3FB03-A0C0-4A25-8F8C-E07260BFE540}" presName="compositeNode" presStyleCnt="0">
        <dgm:presLayoutVars>
          <dgm:bulletEnabled val="1"/>
        </dgm:presLayoutVars>
      </dgm:prSet>
      <dgm:spPr/>
    </dgm:pt>
    <dgm:pt modelId="{AECCE8BF-C63F-403C-8BC5-FFC87033D9D9}" type="pres">
      <dgm:prSet presAssocID="{6FB3FB03-A0C0-4A25-8F8C-E07260BFE540}" presName="bgRect" presStyleLbl="bgAccFollowNode1" presStyleIdx="2" presStyleCnt="3"/>
      <dgm:spPr/>
    </dgm:pt>
    <dgm:pt modelId="{E2625CA3-F61B-41A4-90FE-17F1E6BD97B1}" type="pres">
      <dgm:prSet presAssocID="{58C1FCD5-A852-449E-906B-2CF5A0F473AB}" presName="sibTransNodeCircle" presStyleLbl="alignNode1" presStyleIdx="4" presStyleCnt="6">
        <dgm:presLayoutVars>
          <dgm:chMax val="0"/>
          <dgm:bulletEnabled/>
        </dgm:presLayoutVars>
      </dgm:prSet>
      <dgm:spPr/>
    </dgm:pt>
    <dgm:pt modelId="{0842CD35-F874-42CE-BD66-BE403075A66F}" type="pres">
      <dgm:prSet presAssocID="{6FB3FB03-A0C0-4A25-8F8C-E07260BFE540}" presName="bottomLine" presStyleLbl="alignNode1" presStyleIdx="5" presStyleCnt="6">
        <dgm:presLayoutVars/>
      </dgm:prSet>
      <dgm:spPr/>
    </dgm:pt>
    <dgm:pt modelId="{54778C5D-B480-4ED9-BBF2-FF49A0828518}" type="pres">
      <dgm:prSet presAssocID="{6FB3FB03-A0C0-4A25-8F8C-E07260BFE540}" presName="nodeText" presStyleLbl="bgAccFollowNode1" presStyleIdx="2" presStyleCnt="3">
        <dgm:presLayoutVars>
          <dgm:bulletEnabled val="1"/>
        </dgm:presLayoutVars>
      </dgm:prSet>
      <dgm:spPr/>
    </dgm:pt>
  </dgm:ptLst>
  <dgm:cxnLst>
    <dgm:cxn modelId="{613DBD02-6616-4CC3-85A3-2C2841919153}" srcId="{ADE52023-F543-4910-8BB4-9ADD1AC2B789}" destId="{6FB3FB03-A0C0-4A25-8F8C-E07260BFE540}" srcOrd="2" destOrd="0" parTransId="{78B4FB0E-D68A-404B-9A85-36E952AD2B08}" sibTransId="{58C1FCD5-A852-449E-906B-2CF5A0F473AB}"/>
    <dgm:cxn modelId="{7A725814-5A1E-4A8E-9788-C3F8745B4415}" type="presOf" srcId="{ADE52023-F543-4910-8BB4-9ADD1AC2B789}" destId="{9F8A526D-0FB1-4DBB-91D6-7889650AC98C}" srcOrd="0" destOrd="0" presId="urn:microsoft.com/office/officeart/2016/7/layout/BasicLinearProcessNumbered"/>
    <dgm:cxn modelId="{0C80502C-DF27-440C-8946-981F63561FF9}" type="presOf" srcId="{B7C70AD9-8990-44D4-87A3-9CEA40D3D849}" destId="{3FD1D28C-342C-49BA-BAC4-2FB7B55ACA1D}" srcOrd="1" destOrd="0" presId="urn:microsoft.com/office/officeart/2016/7/layout/BasicLinearProcessNumbered"/>
    <dgm:cxn modelId="{3971D832-EA5F-49F2-8D81-5513AF8A89D2}" type="presOf" srcId="{58C1FCD5-A852-449E-906B-2CF5A0F473AB}" destId="{E2625CA3-F61B-41A4-90FE-17F1E6BD97B1}" srcOrd="0" destOrd="0" presId="urn:microsoft.com/office/officeart/2016/7/layout/BasicLinearProcessNumbered"/>
    <dgm:cxn modelId="{E3BD9056-D661-41A1-B9C3-7B425461DBDF}" type="presOf" srcId="{67A894A5-EB21-4A70-A353-C6F54D17B061}" destId="{CA8BC1A7-1E17-405F-A824-4D23A6F60A0F}" srcOrd="0" destOrd="0" presId="urn:microsoft.com/office/officeart/2016/7/layout/BasicLinearProcessNumbered"/>
    <dgm:cxn modelId="{7A8DBA5A-D3EA-411A-98E8-B028F18D170B}" type="presOf" srcId="{BD685BCA-345B-4BE4-AE5F-C9CC5D4635E2}" destId="{C38B8340-0B54-4EA3-89C1-1EBA164AA54E}" srcOrd="1" destOrd="0" presId="urn:microsoft.com/office/officeart/2016/7/layout/BasicLinearProcessNumbered"/>
    <dgm:cxn modelId="{53721261-0176-4845-9B55-60E3B505BAD8}" type="presOf" srcId="{6FB3FB03-A0C0-4A25-8F8C-E07260BFE540}" destId="{54778C5D-B480-4ED9-BBF2-FF49A0828518}" srcOrd="1" destOrd="0" presId="urn:microsoft.com/office/officeart/2016/7/layout/BasicLinearProcessNumbered"/>
    <dgm:cxn modelId="{47534E83-72A9-4959-AB70-B5CB560D2578}" srcId="{ADE52023-F543-4910-8BB4-9ADD1AC2B789}" destId="{BD685BCA-345B-4BE4-AE5F-C9CC5D4635E2}" srcOrd="0" destOrd="0" parTransId="{D18499E0-6AF3-4AB4-8D40-E0D6A316DBC9}" sibTransId="{67A894A5-EB21-4A70-A353-C6F54D17B061}"/>
    <dgm:cxn modelId="{EB8174A8-3A82-44A3-8E0F-6282DDB2FE09}" type="presOf" srcId="{887AFE6A-6414-4828-9F61-9960FBACD51F}" destId="{EEE29602-755C-418E-AA74-75C954A25F94}" srcOrd="0" destOrd="0" presId="urn:microsoft.com/office/officeart/2016/7/layout/BasicLinearProcessNumbered"/>
    <dgm:cxn modelId="{8B465EBF-54ED-4190-BD07-1AFF3F069C4E}" type="presOf" srcId="{B7C70AD9-8990-44D4-87A3-9CEA40D3D849}" destId="{13221FAF-1D3E-43E2-B8C1-C873E7548D72}" srcOrd="0" destOrd="0" presId="urn:microsoft.com/office/officeart/2016/7/layout/BasicLinearProcessNumbered"/>
    <dgm:cxn modelId="{F109EAC3-16E6-4CDC-95C1-8460BABC768D}" srcId="{ADE52023-F543-4910-8BB4-9ADD1AC2B789}" destId="{B7C70AD9-8990-44D4-87A3-9CEA40D3D849}" srcOrd="1" destOrd="0" parTransId="{EDFC8E7B-AB68-446C-A254-F817039897E7}" sibTransId="{887AFE6A-6414-4828-9F61-9960FBACD51F}"/>
    <dgm:cxn modelId="{0C74B7CD-E7C9-432D-AE10-8A0EC1720175}" type="presOf" srcId="{6FB3FB03-A0C0-4A25-8F8C-E07260BFE540}" destId="{AECCE8BF-C63F-403C-8BC5-FFC87033D9D9}" srcOrd="0" destOrd="0" presId="urn:microsoft.com/office/officeart/2016/7/layout/BasicLinearProcessNumbered"/>
    <dgm:cxn modelId="{7438B5CE-D95C-46E0-93CF-6B8C525F7814}" type="presOf" srcId="{BD685BCA-345B-4BE4-AE5F-C9CC5D4635E2}" destId="{ADCBA07D-2FFC-4844-9439-7ACE1858F8CE}" srcOrd="0" destOrd="0" presId="urn:microsoft.com/office/officeart/2016/7/layout/BasicLinearProcessNumbered"/>
    <dgm:cxn modelId="{28BC15E5-D98C-4BA4-872B-2743C0AC5E6F}" type="presParOf" srcId="{9F8A526D-0FB1-4DBB-91D6-7889650AC98C}" destId="{4AAE0283-96F6-45EA-B79C-9EEC9B78D13D}" srcOrd="0" destOrd="0" presId="urn:microsoft.com/office/officeart/2016/7/layout/BasicLinearProcessNumbered"/>
    <dgm:cxn modelId="{BC4FB161-040D-43B2-B776-50465CB030A7}" type="presParOf" srcId="{4AAE0283-96F6-45EA-B79C-9EEC9B78D13D}" destId="{ADCBA07D-2FFC-4844-9439-7ACE1858F8CE}" srcOrd="0" destOrd="0" presId="urn:microsoft.com/office/officeart/2016/7/layout/BasicLinearProcessNumbered"/>
    <dgm:cxn modelId="{1EC00A1D-B498-49A8-B61F-46268AB44DC3}" type="presParOf" srcId="{4AAE0283-96F6-45EA-B79C-9EEC9B78D13D}" destId="{CA8BC1A7-1E17-405F-A824-4D23A6F60A0F}" srcOrd="1" destOrd="0" presId="urn:microsoft.com/office/officeart/2016/7/layout/BasicLinearProcessNumbered"/>
    <dgm:cxn modelId="{57CCAE3F-D9D5-44CF-95C7-4E0597D8F130}" type="presParOf" srcId="{4AAE0283-96F6-45EA-B79C-9EEC9B78D13D}" destId="{D30B1E82-D9E1-4ED4-8BDD-1A4621C3F917}" srcOrd="2" destOrd="0" presId="urn:microsoft.com/office/officeart/2016/7/layout/BasicLinearProcessNumbered"/>
    <dgm:cxn modelId="{F9E744E2-2890-4FD4-BA01-9B3036DF141D}" type="presParOf" srcId="{4AAE0283-96F6-45EA-B79C-9EEC9B78D13D}" destId="{C38B8340-0B54-4EA3-89C1-1EBA164AA54E}" srcOrd="3" destOrd="0" presId="urn:microsoft.com/office/officeart/2016/7/layout/BasicLinearProcessNumbered"/>
    <dgm:cxn modelId="{4D4DFA7D-C038-4C95-91A7-79933BDC88BA}" type="presParOf" srcId="{9F8A526D-0FB1-4DBB-91D6-7889650AC98C}" destId="{1F4CECD1-737D-4D57-A950-1F6F5598B1A6}" srcOrd="1" destOrd="0" presId="urn:microsoft.com/office/officeart/2016/7/layout/BasicLinearProcessNumbered"/>
    <dgm:cxn modelId="{22A6A80D-50E7-4D59-9E23-B445FACD8938}" type="presParOf" srcId="{9F8A526D-0FB1-4DBB-91D6-7889650AC98C}" destId="{BC1B39FF-EEEA-427F-8F58-D662FBDE0C3B}" srcOrd="2" destOrd="0" presId="urn:microsoft.com/office/officeart/2016/7/layout/BasicLinearProcessNumbered"/>
    <dgm:cxn modelId="{BAE5094D-92FE-4998-948D-BCB13BBCBC97}" type="presParOf" srcId="{BC1B39FF-EEEA-427F-8F58-D662FBDE0C3B}" destId="{13221FAF-1D3E-43E2-B8C1-C873E7548D72}" srcOrd="0" destOrd="0" presId="urn:microsoft.com/office/officeart/2016/7/layout/BasicLinearProcessNumbered"/>
    <dgm:cxn modelId="{A666F0F9-5288-43E5-ABF9-6E12CC43D631}" type="presParOf" srcId="{BC1B39FF-EEEA-427F-8F58-D662FBDE0C3B}" destId="{EEE29602-755C-418E-AA74-75C954A25F94}" srcOrd="1" destOrd="0" presId="urn:microsoft.com/office/officeart/2016/7/layout/BasicLinearProcessNumbered"/>
    <dgm:cxn modelId="{1B69FF80-FD16-4F01-8D88-21AB38AA8A91}" type="presParOf" srcId="{BC1B39FF-EEEA-427F-8F58-D662FBDE0C3B}" destId="{9F636BA9-B9C5-4782-8C62-AE4D5509E509}" srcOrd="2" destOrd="0" presId="urn:microsoft.com/office/officeart/2016/7/layout/BasicLinearProcessNumbered"/>
    <dgm:cxn modelId="{57C77055-34F3-4127-B51C-1768664095AA}" type="presParOf" srcId="{BC1B39FF-EEEA-427F-8F58-D662FBDE0C3B}" destId="{3FD1D28C-342C-49BA-BAC4-2FB7B55ACA1D}" srcOrd="3" destOrd="0" presId="urn:microsoft.com/office/officeart/2016/7/layout/BasicLinearProcessNumbered"/>
    <dgm:cxn modelId="{118666CC-4632-4A9B-AAC1-1AF858DE0A85}" type="presParOf" srcId="{9F8A526D-0FB1-4DBB-91D6-7889650AC98C}" destId="{215F6D53-F3B0-4293-B4CA-505F22A57BE2}" srcOrd="3" destOrd="0" presId="urn:microsoft.com/office/officeart/2016/7/layout/BasicLinearProcessNumbered"/>
    <dgm:cxn modelId="{4285E682-F8FA-4752-8669-B4C131D7D68B}" type="presParOf" srcId="{9F8A526D-0FB1-4DBB-91D6-7889650AC98C}" destId="{BFBC1FE6-813A-4808-B548-68E6E0180618}" srcOrd="4" destOrd="0" presId="urn:microsoft.com/office/officeart/2016/7/layout/BasicLinearProcessNumbered"/>
    <dgm:cxn modelId="{A9E79B17-3ABC-444E-BB6E-AAA1B80CECFF}" type="presParOf" srcId="{BFBC1FE6-813A-4808-B548-68E6E0180618}" destId="{AECCE8BF-C63F-403C-8BC5-FFC87033D9D9}" srcOrd="0" destOrd="0" presId="urn:microsoft.com/office/officeart/2016/7/layout/BasicLinearProcessNumbered"/>
    <dgm:cxn modelId="{AE916F0C-2672-4391-B2BD-E2C2755FE0BD}" type="presParOf" srcId="{BFBC1FE6-813A-4808-B548-68E6E0180618}" destId="{E2625CA3-F61B-41A4-90FE-17F1E6BD97B1}" srcOrd="1" destOrd="0" presId="urn:microsoft.com/office/officeart/2016/7/layout/BasicLinearProcessNumbered"/>
    <dgm:cxn modelId="{C97D4469-0597-444A-A784-6E30DC8FC604}" type="presParOf" srcId="{BFBC1FE6-813A-4808-B548-68E6E0180618}" destId="{0842CD35-F874-42CE-BD66-BE403075A66F}" srcOrd="2" destOrd="0" presId="urn:microsoft.com/office/officeart/2016/7/layout/BasicLinearProcessNumbered"/>
    <dgm:cxn modelId="{91B67E17-D94A-40E1-9F1F-7CC7921AD0AC}" type="presParOf" srcId="{BFBC1FE6-813A-4808-B548-68E6E0180618}" destId="{54778C5D-B480-4ED9-BBF2-FF49A0828518}" srcOrd="3" destOrd="0" presId="urn:microsoft.com/office/officeart/2016/7/layout/BasicLinearProcessNumbered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461405-E899-4BDA-847F-F09BF45A07B4}" type="doc">
      <dgm:prSet loTypeId="urn:microsoft.com/office/officeart/2005/8/layout/matrix3" loCatId="matrix" qsTypeId="urn:microsoft.com/office/officeart/2005/8/quickstyle/simple1" qsCatId="simple" csTypeId="urn:microsoft.com/office/officeart/2005/8/colors/accent6_3" csCatId="accent6"/>
      <dgm:spPr/>
      <dgm:t>
        <a:bodyPr/>
        <a:lstStyle/>
        <a:p>
          <a:endParaRPr lang="en-US"/>
        </a:p>
      </dgm:t>
    </dgm:pt>
    <dgm:pt modelId="{C506C446-71DD-4800-B9EC-2CEA261C85FC}">
      <dgm:prSet/>
      <dgm:spPr/>
      <dgm:t>
        <a:bodyPr/>
        <a:lstStyle/>
        <a:p>
          <a:r>
            <a:rPr lang="en-US"/>
            <a:t>All physicians and providers, nurses, ancillary clinicians and hospital staff completing E-Modules</a:t>
          </a:r>
        </a:p>
      </dgm:t>
    </dgm:pt>
    <dgm:pt modelId="{4C2E3476-1054-4346-8AF3-3D194482C959}" type="parTrans" cxnId="{6308D8C5-CE60-477D-B2F1-2368EED27DEE}">
      <dgm:prSet/>
      <dgm:spPr/>
      <dgm:t>
        <a:bodyPr/>
        <a:lstStyle/>
        <a:p>
          <a:endParaRPr lang="en-US"/>
        </a:p>
      </dgm:t>
    </dgm:pt>
    <dgm:pt modelId="{5DC9CBD3-78FA-49E7-A51F-DE4246B3DA63}" type="sibTrans" cxnId="{6308D8C5-CE60-477D-B2F1-2368EED27DEE}">
      <dgm:prSet/>
      <dgm:spPr/>
      <dgm:t>
        <a:bodyPr/>
        <a:lstStyle/>
        <a:p>
          <a:endParaRPr lang="en-US"/>
        </a:p>
      </dgm:t>
    </dgm:pt>
    <dgm:pt modelId="{1DC724A3-F71F-4F3F-AFE3-F7645972F1CE}">
      <dgm:prSet/>
      <dgm:spPr/>
      <dgm:t>
        <a:bodyPr/>
        <a:lstStyle/>
        <a:p>
          <a:r>
            <a:rPr lang="en-US"/>
            <a:t>At least 1 ESSI Team Member attends PQI training</a:t>
          </a:r>
        </a:p>
      </dgm:t>
    </dgm:pt>
    <dgm:pt modelId="{67C454AB-2859-4AB7-8FB9-9BC35E3A64B3}" type="parTrans" cxnId="{21D545AB-C03E-4E70-BAEE-1FED7D8D86C7}">
      <dgm:prSet/>
      <dgm:spPr/>
      <dgm:t>
        <a:bodyPr/>
        <a:lstStyle/>
        <a:p>
          <a:endParaRPr lang="en-US"/>
        </a:p>
      </dgm:t>
    </dgm:pt>
    <dgm:pt modelId="{F556B796-6A17-4FBF-876D-33639BDC9B0C}" type="sibTrans" cxnId="{21D545AB-C03E-4E70-BAEE-1FED7D8D86C7}">
      <dgm:prSet/>
      <dgm:spPr/>
      <dgm:t>
        <a:bodyPr/>
        <a:lstStyle/>
        <a:p>
          <a:endParaRPr lang="en-US"/>
        </a:p>
      </dgm:t>
    </dgm:pt>
    <dgm:pt modelId="{96C2D5B1-7D7A-44AB-9200-C205C1AB0DB9}">
      <dgm:prSet/>
      <dgm:spPr/>
      <dgm:t>
        <a:bodyPr/>
        <a:lstStyle/>
        <a:p>
          <a:r>
            <a:rPr lang="en-US">
              <a:latin typeface="Calibri" panose="020F0502020204030204"/>
            </a:rPr>
            <a:t>Host</a:t>
          </a:r>
          <a:r>
            <a:rPr lang="en-US"/>
            <a:t> at least 1 facilitated discussion</a:t>
          </a:r>
        </a:p>
      </dgm:t>
    </dgm:pt>
    <dgm:pt modelId="{FD6D8808-A2D2-412C-A027-21AC214AC556}" type="parTrans" cxnId="{5E14390E-470A-471F-808D-6FB89FB9E32E}">
      <dgm:prSet/>
      <dgm:spPr/>
      <dgm:t>
        <a:bodyPr/>
        <a:lstStyle/>
        <a:p>
          <a:endParaRPr lang="en-US"/>
        </a:p>
      </dgm:t>
    </dgm:pt>
    <dgm:pt modelId="{F80A90AF-3AB4-4B6F-92D4-B1DADA57C58A}" type="sibTrans" cxnId="{5E14390E-470A-471F-808D-6FB89FB9E32E}">
      <dgm:prSet/>
      <dgm:spPr/>
      <dgm:t>
        <a:bodyPr/>
        <a:lstStyle/>
        <a:p>
          <a:endParaRPr lang="en-US"/>
        </a:p>
      </dgm:t>
    </dgm:pt>
    <dgm:pt modelId="{EBBB3B80-A652-4DFE-8F42-F51CB5F1ABA6}">
      <dgm:prSet/>
      <dgm:spPr/>
      <dgm:t>
        <a:bodyPr/>
        <a:lstStyle/>
        <a:p>
          <a:r>
            <a:rPr lang="en-US"/>
            <a:t>System to facilitate feedback from peers, parents and families </a:t>
          </a:r>
        </a:p>
      </dgm:t>
    </dgm:pt>
    <dgm:pt modelId="{C9CAF60A-DBCB-4185-8364-2078B6C5877C}" type="parTrans" cxnId="{FEE82698-6CFA-409B-B2DE-0542393030E1}">
      <dgm:prSet/>
      <dgm:spPr/>
      <dgm:t>
        <a:bodyPr/>
        <a:lstStyle/>
        <a:p>
          <a:endParaRPr lang="en-US"/>
        </a:p>
      </dgm:t>
    </dgm:pt>
    <dgm:pt modelId="{6A7AE82A-1D30-4856-B8D8-B577693E5F01}" type="sibTrans" cxnId="{FEE82698-6CFA-409B-B2DE-0542393030E1}">
      <dgm:prSet/>
      <dgm:spPr/>
      <dgm:t>
        <a:bodyPr/>
        <a:lstStyle/>
        <a:p>
          <a:endParaRPr lang="en-US"/>
        </a:p>
      </dgm:t>
    </dgm:pt>
    <dgm:pt modelId="{8A4FCF69-8464-4DFD-9845-403303830469}" type="pres">
      <dgm:prSet presAssocID="{9C461405-E899-4BDA-847F-F09BF45A07B4}" presName="matrix" presStyleCnt="0">
        <dgm:presLayoutVars>
          <dgm:chMax val="1"/>
          <dgm:dir/>
          <dgm:resizeHandles val="exact"/>
        </dgm:presLayoutVars>
      </dgm:prSet>
      <dgm:spPr/>
    </dgm:pt>
    <dgm:pt modelId="{57131C6F-7311-4A33-A9DE-E1E3BE163BA6}" type="pres">
      <dgm:prSet presAssocID="{9C461405-E899-4BDA-847F-F09BF45A07B4}" presName="diamond" presStyleLbl="bgShp" presStyleIdx="0" presStyleCnt="1"/>
      <dgm:spPr>
        <a:solidFill>
          <a:srgbClr val="8AE3A9"/>
        </a:solidFill>
      </dgm:spPr>
    </dgm:pt>
    <dgm:pt modelId="{D0017B62-974B-4CCC-82D4-15FD309F3A58}" type="pres">
      <dgm:prSet presAssocID="{9C461405-E899-4BDA-847F-F09BF45A07B4}" presName="quad1" presStyleLbl="node1" presStyleIdx="0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67399538-B1C4-4C02-AA54-EC019EDC318E}" type="pres">
      <dgm:prSet presAssocID="{9C461405-E899-4BDA-847F-F09BF45A07B4}" presName="quad2" presStyleLbl="node1" presStyleIdx="1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AD986641-CB14-4D63-8E1D-83F37749B4CF}" type="pres">
      <dgm:prSet presAssocID="{9C461405-E899-4BDA-847F-F09BF45A07B4}" presName="quad3" presStyleLbl="node1" presStyleIdx="2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41B30F7D-63E8-4828-A2D7-8618F5B94D35}" type="pres">
      <dgm:prSet presAssocID="{9C461405-E899-4BDA-847F-F09BF45A07B4}" presName="quad4" presStyleLbl="node1" presStyleIdx="3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</dgm:ptLst>
  <dgm:cxnLst>
    <dgm:cxn modelId="{5E14390E-470A-471F-808D-6FB89FB9E32E}" srcId="{9C461405-E899-4BDA-847F-F09BF45A07B4}" destId="{96C2D5B1-7D7A-44AB-9200-C205C1AB0DB9}" srcOrd="2" destOrd="0" parTransId="{FD6D8808-A2D2-412C-A027-21AC214AC556}" sibTransId="{F80A90AF-3AB4-4B6F-92D4-B1DADA57C58A}"/>
    <dgm:cxn modelId="{6163A62B-48A7-4DC1-B5F4-F1597CCECEFE}" type="presOf" srcId="{C506C446-71DD-4800-B9EC-2CEA261C85FC}" destId="{D0017B62-974B-4CCC-82D4-15FD309F3A58}" srcOrd="0" destOrd="0" presId="urn:microsoft.com/office/officeart/2005/8/layout/matrix3"/>
    <dgm:cxn modelId="{F9CA6B58-6F21-4D40-999A-3466A3505006}" type="presOf" srcId="{EBBB3B80-A652-4DFE-8F42-F51CB5F1ABA6}" destId="{41B30F7D-63E8-4828-A2D7-8618F5B94D35}" srcOrd="0" destOrd="0" presId="urn:microsoft.com/office/officeart/2005/8/layout/matrix3"/>
    <dgm:cxn modelId="{0758D263-0CAF-488C-9082-B3EE43A4558E}" type="presOf" srcId="{1DC724A3-F71F-4F3F-AFE3-F7645972F1CE}" destId="{67399538-B1C4-4C02-AA54-EC019EDC318E}" srcOrd="0" destOrd="0" presId="urn:microsoft.com/office/officeart/2005/8/layout/matrix3"/>
    <dgm:cxn modelId="{BB794B6B-3CB8-4C51-8C71-BBAD81A09081}" type="presOf" srcId="{96C2D5B1-7D7A-44AB-9200-C205C1AB0DB9}" destId="{AD986641-CB14-4D63-8E1D-83F37749B4CF}" srcOrd="0" destOrd="0" presId="urn:microsoft.com/office/officeart/2005/8/layout/matrix3"/>
    <dgm:cxn modelId="{FEE82698-6CFA-409B-B2DE-0542393030E1}" srcId="{9C461405-E899-4BDA-847F-F09BF45A07B4}" destId="{EBBB3B80-A652-4DFE-8F42-F51CB5F1ABA6}" srcOrd="3" destOrd="0" parTransId="{C9CAF60A-DBCB-4185-8364-2078B6C5877C}" sibTransId="{6A7AE82A-1D30-4856-B8D8-B577693E5F01}"/>
    <dgm:cxn modelId="{21D545AB-C03E-4E70-BAEE-1FED7D8D86C7}" srcId="{9C461405-E899-4BDA-847F-F09BF45A07B4}" destId="{1DC724A3-F71F-4F3F-AFE3-F7645972F1CE}" srcOrd="1" destOrd="0" parTransId="{67C454AB-2859-4AB7-8FB9-9BC35E3A64B3}" sibTransId="{F556B796-6A17-4FBF-876D-33639BDC9B0C}"/>
    <dgm:cxn modelId="{6308D8C5-CE60-477D-B2F1-2368EED27DEE}" srcId="{9C461405-E899-4BDA-847F-F09BF45A07B4}" destId="{C506C446-71DD-4800-B9EC-2CEA261C85FC}" srcOrd="0" destOrd="0" parTransId="{4C2E3476-1054-4346-8AF3-3D194482C959}" sibTransId="{5DC9CBD3-78FA-49E7-A51F-DE4246B3DA63}"/>
    <dgm:cxn modelId="{D8D9F3FF-9BD3-4727-9BE0-440405D2D04F}" type="presOf" srcId="{9C461405-E899-4BDA-847F-F09BF45A07B4}" destId="{8A4FCF69-8464-4DFD-9845-403303830469}" srcOrd="0" destOrd="0" presId="urn:microsoft.com/office/officeart/2005/8/layout/matrix3"/>
    <dgm:cxn modelId="{F8ED9327-13BC-4E5D-9B68-9B7C785559C1}" type="presParOf" srcId="{8A4FCF69-8464-4DFD-9845-403303830469}" destId="{57131C6F-7311-4A33-A9DE-E1E3BE163BA6}" srcOrd="0" destOrd="0" presId="urn:microsoft.com/office/officeart/2005/8/layout/matrix3"/>
    <dgm:cxn modelId="{3C919753-5DC8-471A-9967-9D6AD1EF2873}" type="presParOf" srcId="{8A4FCF69-8464-4DFD-9845-403303830469}" destId="{D0017B62-974B-4CCC-82D4-15FD309F3A58}" srcOrd="1" destOrd="0" presId="urn:microsoft.com/office/officeart/2005/8/layout/matrix3"/>
    <dgm:cxn modelId="{92FF728B-F551-49E1-969B-B654FD5AEF4F}" type="presParOf" srcId="{8A4FCF69-8464-4DFD-9845-403303830469}" destId="{67399538-B1C4-4C02-AA54-EC019EDC318E}" srcOrd="2" destOrd="0" presId="urn:microsoft.com/office/officeart/2005/8/layout/matrix3"/>
    <dgm:cxn modelId="{A38C6C2E-6B7A-43AF-946B-CBA9890BE76F}" type="presParOf" srcId="{8A4FCF69-8464-4DFD-9845-403303830469}" destId="{AD986641-CB14-4D63-8E1D-83F37749B4CF}" srcOrd="3" destOrd="0" presId="urn:microsoft.com/office/officeart/2005/8/layout/matrix3"/>
    <dgm:cxn modelId="{67665BB7-7355-41B9-A9E9-D59E54DB3731}" type="presParOf" srcId="{8A4FCF69-8464-4DFD-9845-403303830469}" destId="{41B30F7D-63E8-4828-A2D7-8618F5B94D35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F2803A7-90A0-4BC6-BC05-28FBD2D976FA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1E7551E2-F93B-47D4-9821-DD67FEBEF221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Hospital Level Data form</a:t>
          </a:r>
        </a:p>
      </dgm:t>
    </dgm:pt>
    <dgm:pt modelId="{35D105FF-3E6E-4E68-A8E2-85AC789B699F}" type="parTrans" cxnId="{81F77749-EF3F-41D4-B107-045C3634334D}">
      <dgm:prSet/>
      <dgm:spPr/>
      <dgm:t>
        <a:bodyPr/>
        <a:lstStyle/>
        <a:p>
          <a:endParaRPr lang="en-US"/>
        </a:p>
      </dgm:t>
    </dgm:pt>
    <dgm:pt modelId="{3482EDDA-887F-4535-922A-A7894AA6FF27}" type="sibTrans" cxnId="{81F77749-EF3F-41D4-B107-045C3634334D}">
      <dgm:prSet/>
      <dgm:spPr/>
      <dgm:t>
        <a:bodyPr/>
        <a:lstStyle/>
        <a:p>
          <a:endParaRPr lang="en-US"/>
        </a:p>
      </dgm:t>
    </dgm:pt>
    <dgm:pt modelId="{CDE93A3B-D304-4BF9-B63C-A18A03CC1339}">
      <dgm:prSet/>
      <dgm:spPr/>
      <dgm:t>
        <a:bodyPr/>
        <a:lstStyle/>
        <a:p>
          <a:pPr rtl="0"/>
          <a:r>
            <a:rPr lang="en-US">
              <a:latin typeface="DM Sans"/>
              <a:cs typeface="Calibri"/>
            </a:rPr>
            <a:t>Structure Measures </a:t>
          </a:r>
        </a:p>
      </dgm:t>
    </dgm:pt>
    <dgm:pt modelId="{AC4E72F0-4302-408C-9916-58033F307E66}" type="parTrans" cxnId="{2455CDAC-E222-43F9-9142-8813BE8A5C89}">
      <dgm:prSet/>
      <dgm:spPr/>
      <dgm:t>
        <a:bodyPr/>
        <a:lstStyle/>
        <a:p>
          <a:endParaRPr lang="en-US"/>
        </a:p>
      </dgm:t>
    </dgm:pt>
    <dgm:pt modelId="{B75563AB-8B5A-40CF-949E-A56EF8A4FEBC}" type="sibTrans" cxnId="{2455CDAC-E222-43F9-9142-8813BE8A5C89}">
      <dgm:prSet/>
      <dgm:spPr/>
      <dgm:t>
        <a:bodyPr/>
        <a:lstStyle/>
        <a:p>
          <a:endParaRPr lang="en-US"/>
        </a:p>
      </dgm:t>
    </dgm:pt>
    <dgm:pt modelId="{E048B95C-A001-4DC8-A7B9-E10A52BE0629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Education Measures</a:t>
          </a:r>
        </a:p>
      </dgm:t>
    </dgm:pt>
    <dgm:pt modelId="{D46A2253-7F42-4F35-A6D0-B92212B2AA93}" type="parTrans" cxnId="{340CA8D4-8C91-4151-8F19-CD102E3F8CCC}">
      <dgm:prSet/>
      <dgm:spPr/>
      <dgm:t>
        <a:bodyPr/>
        <a:lstStyle/>
        <a:p>
          <a:endParaRPr lang="en-US"/>
        </a:p>
      </dgm:t>
    </dgm:pt>
    <dgm:pt modelId="{5FA6BCB9-9FAB-401C-AADA-2BAB1285B0E6}" type="sibTrans" cxnId="{340CA8D4-8C91-4151-8F19-CD102E3F8CCC}">
      <dgm:prSet/>
      <dgm:spPr/>
      <dgm:t>
        <a:bodyPr/>
        <a:lstStyle/>
        <a:p>
          <a:endParaRPr lang="en-US"/>
        </a:p>
      </dgm:t>
    </dgm:pt>
    <dgm:pt modelId="{2F96AE4C-80EE-42F0-9C1C-F09A8B9EB6B1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Crib Audits</a:t>
          </a:r>
        </a:p>
      </dgm:t>
    </dgm:pt>
    <dgm:pt modelId="{993F732A-4C89-4B04-949B-565AF25BC9C1}" type="parTrans" cxnId="{B966FE98-A212-43A6-9A1C-E4F1F6105032}">
      <dgm:prSet/>
      <dgm:spPr/>
      <dgm:t>
        <a:bodyPr/>
        <a:lstStyle/>
        <a:p>
          <a:endParaRPr lang="en-US"/>
        </a:p>
      </dgm:t>
    </dgm:pt>
    <dgm:pt modelId="{840B5B38-E302-4593-A113-A37975CD5192}" type="sibTrans" cxnId="{B966FE98-A212-43A6-9A1C-E4F1F6105032}">
      <dgm:prSet/>
      <dgm:spPr/>
      <dgm:t>
        <a:bodyPr/>
        <a:lstStyle/>
        <a:p>
          <a:endParaRPr lang="en-US"/>
        </a:p>
      </dgm:t>
    </dgm:pt>
    <dgm:pt modelId="{22D5BD7D-2E8D-478E-A9E9-F93DFD60822F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Patient Level Data form</a:t>
          </a:r>
        </a:p>
      </dgm:t>
    </dgm:pt>
    <dgm:pt modelId="{0FC81F1A-D000-4B5D-A9D6-601EF1AA153F}" type="parTrans" cxnId="{7A17557C-68F8-460B-B2DB-AD1E9B339C1D}">
      <dgm:prSet/>
      <dgm:spPr/>
      <dgm:t>
        <a:bodyPr/>
        <a:lstStyle/>
        <a:p>
          <a:endParaRPr lang="en-US"/>
        </a:p>
      </dgm:t>
    </dgm:pt>
    <dgm:pt modelId="{514469A3-F785-4FB7-8162-EBEDC6170801}" type="sibTrans" cxnId="{7A17557C-68F8-460B-B2DB-AD1E9B339C1D}">
      <dgm:prSet/>
      <dgm:spPr/>
      <dgm:t>
        <a:bodyPr/>
        <a:lstStyle/>
        <a:p>
          <a:endParaRPr lang="en-US"/>
        </a:p>
      </dgm:t>
    </dgm:pt>
    <dgm:pt modelId="{29A9AEB3-1C54-4E12-B059-0D2F8ED1614B}">
      <dgm:prSet/>
      <dgm:spPr/>
      <dgm:t>
        <a:bodyPr/>
        <a:lstStyle/>
        <a:p>
          <a:pPr rtl="0"/>
          <a:r>
            <a:rPr lang="en-US">
              <a:latin typeface="DM Sans"/>
              <a:cs typeface="Calibri"/>
            </a:rPr>
            <a:t>Random sample of 20 newborns discharged each month​ per unit</a:t>
          </a:r>
        </a:p>
      </dgm:t>
    </dgm:pt>
    <dgm:pt modelId="{9FF34403-9B14-437A-8A20-24E31C6152CA}" type="parTrans" cxnId="{48C76931-764E-4E46-B9AE-F6A5150A8A32}">
      <dgm:prSet/>
      <dgm:spPr/>
      <dgm:t>
        <a:bodyPr/>
        <a:lstStyle/>
        <a:p>
          <a:endParaRPr lang="en-US"/>
        </a:p>
      </dgm:t>
    </dgm:pt>
    <dgm:pt modelId="{E12A0EB6-A256-4A0E-AA7A-712D58EA38F9}" type="sibTrans" cxnId="{48C76931-764E-4E46-B9AE-F6A5150A8A32}">
      <dgm:prSet/>
      <dgm:spPr/>
      <dgm:t>
        <a:bodyPr/>
        <a:lstStyle/>
        <a:p>
          <a:endParaRPr lang="en-US"/>
        </a:p>
      </dgm:t>
    </dgm:pt>
    <dgm:pt modelId="{8DD8113F-3048-40A9-8EC1-48C9434AE9D5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Newborn and birthing person demographic data​</a:t>
          </a:r>
        </a:p>
      </dgm:t>
    </dgm:pt>
    <dgm:pt modelId="{A6A15F87-D059-4B54-9240-8FA6FAB1AA11}" type="parTrans" cxnId="{88BDBB16-3955-4632-B83B-21BDC6B2FAB9}">
      <dgm:prSet/>
      <dgm:spPr/>
      <dgm:t>
        <a:bodyPr/>
        <a:lstStyle/>
        <a:p>
          <a:endParaRPr lang="en-US"/>
        </a:p>
      </dgm:t>
    </dgm:pt>
    <dgm:pt modelId="{7E72E34E-F8D6-4976-8500-1FDB964A1093}" type="sibTrans" cxnId="{88BDBB16-3955-4632-B83B-21BDC6B2FAB9}">
      <dgm:prSet/>
      <dgm:spPr/>
      <dgm:t>
        <a:bodyPr/>
        <a:lstStyle/>
        <a:p>
          <a:endParaRPr lang="en-US"/>
        </a:p>
      </dgm:t>
    </dgm:pt>
    <dgm:pt modelId="{DB53729D-64B6-4E6A-A7E6-341E0B9CA7DB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Safe sleep education​</a:t>
          </a:r>
        </a:p>
      </dgm:t>
    </dgm:pt>
    <dgm:pt modelId="{2B6E623A-0592-48CF-A16E-27E8AAD8108A}" type="parTrans" cxnId="{83A9A204-B95F-4184-BEA3-9C14208F3645}">
      <dgm:prSet/>
      <dgm:spPr/>
      <dgm:t>
        <a:bodyPr/>
        <a:lstStyle/>
        <a:p>
          <a:endParaRPr lang="en-US"/>
        </a:p>
      </dgm:t>
    </dgm:pt>
    <dgm:pt modelId="{FBE4F8C7-319D-4B26-8309-872454126917}" type="sibTrans" cxnId="{83A9A204-B95F-4184-BEA3-9C14208F3645}">
      <dgm:prSet/>
      <dgm:spPr/>
      <dgm:t>
        <a:bodyPr/>
        <a:lstStyle/>
        <a:p>
          <a:endParaRPr lang="en-US"/>
        </a:p>
      </dgm:t>
    </dgm:pt>
    <dgm:pt modelId="{EAB071E8-CDD2-4E4F-8F34-A669EEE4D813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Transfer of care documentation​</a:t>
          </a:r>
        </a:p>
      </dgm:t>
    </dgm:pt>
    <dgm:pt modelId="{88AECF3A-DA6F-4E01-9F6E-DC956428531F}" type="parTrans" cxnId="{AF69837F-3867-4E2F-B39B-191E07FEEA4F}">
      <dgm:prSet/>
      <dgm:spPr/>
      <dgm:t>
        <a:bodyPr/>
        <a:lstStyle/>
        <a:p>
          <a:endParaRPr lang="en-US"/>
        </a:p>
      </dgm:t>
    </dgm:pt>
    <dgm:pt modelId="{36C97ABB-C9CF-47D0-9358-749D9FADA06A}" type="sibTrans" cxnId="{AF69837F-3867-4E2F-B39B-191E07FEEA4F}">
      <dgm:prSet/>
      <dgm:spPr/>
      <dgm:t>
        <a:bodyPr/>
        <a:lstStyle/>
        <a:p>
          <a:endParaRPr lang="en-US"/>
        </a:p>
      </dgm:t>
    </dgm:pt>
    <dgm:pt modelId="{CA9A1851-BC48-4982-B52D-BC9989FB78D2}" type="pres">
      <dgm:prSet presAssocID="{9F2803A7-90A0-4BC6-BC05-28FBD2D976FA}" presName="Name0" presStyleCnt="0">
        <dgm:presLayoutVars>
          <dgm:dir/>
          <dgm:animLvl val="lvl"/>
          <dgm:resizeHandles val="exact"/>
        </dgm:presLayoutVars>
      </dgm:prSet>
      <dgm:spPr/>
    </dgm:pt>
    <dgm:pt modelId="{9129533E-A104-45C5-A3B3-305C27EB86D4}" type="pres">
      <dgm:prSet presAssocID="{1E7551E2-F93B-47D4-9821-DD67FEBEF221}" presName="composite" presStyleCnt="0"/>
      <dgm:spPr/>
    </dgm:pt>
    <dgm:pt modelId="{0A6E60D1-F877-47D4-8B41-F856165E7A80}" type="pres">
      <dgm:prSet presAssocID="{1E7551E2-F93B-47D4-9821-DD67FEBEF221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9CDF1165-2B21-4627-8D70-B6E057345958}" type="pres">
      <dgm:prSet presAssocID="{1E7551E2-F93B-47D4-9821-DD67FEBEF221}" presName="desTx" presStyleLbl="alignAccFollowNode1" presStyleIdx="0" presStyleCnt="2">
        <dgm:presLayoutVars>
          <dgm:bulletEnabled val="1"/>
        </dgm:presLayoutVars>
      </dgm:prSet>
      <dgm:spPr/>
    </dgm:pt>
    <dgm:pt modelId="{BA2F7A74-7A3D-4692-B18C-DEEE183052BE}" type="pres">
      <dgm:prSet presAssocID="{3482EDDA-887F-4535-922A-A7894AA6FF27}" presName="space" presStyleCnt="0"/>
      <dgm:spPr/>
    </dgm:pt>
    <dgm:pt modelId="{28FDC6B1-63B4-4B80-8398-8943F315BE9C}" type="pres">
      <dgm:prSet presAssocID="{22D5BD7D-2E8D-478E-A9E9-F93DFD60822F}" presName="composite" presStyleCnt="0"/>
      <dgm:spPr/>
    </dgm:pt>
    <dgm:pt modelId="{72E90577-3D0A-44A9-802D-7402B1482B47}" type="pres">
      <dgm:prSet presAssocID="{22D5BD7D-2E8D-478E-A9E9-F93DFD60822F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CF05495E-421B-40F8-91AB-BC717C052FA2}" type="pres">
      <dgm:prSet presAssocID="{22D5BD7D-2E8D-478E-A9E9-F93DFD60822F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FE096E00-CE66-4981-9D15-0A3D8AD2388C}" type="presOf" srcId="{EAB071E8-CDD2-4E4F-8F34-A669EEE4D813}" destId="{CF05495E-421B-40F8-91AB-BC717C052FA2}" srcOrd="0" destOrd="3" presId="urn:microsoft.com/office/officeart/2005/8/layout/hList1"/>
    <dgm:cxn modelId="{83A9A204-B95F-4184-BEA3-9C14208F3645}" srcId="{22D5BD7D-2E8D-478E-A9E9-F93DFD60822F}" destId="{DB53729D-64B6-4E6A-A7E6-341E0B9CA7DB}" srcOrd="2" destOrd="0" parTransId="{2B6E623A-0592-48CF-A16E-27E8AAD8108A}" sibTransId="{FBE4F8C7-319D-4B26-8309-872454126917}"/>
    <dgm:cxn modelId="{EFD36A07-2EFF-410F-9378-FDC95117018C}" type="presOf" srcId="{DB53729D-64B6-4E6A-A7E6-341E0B9CA7DB}" destId="{CF05495E-421B-40F8-91AB-BC717C052FA2}" srcOrd="0" destOrd="2" presId="urn:microsoft.com/office/officeart/2005/8/layout/hList1"/>
    <dgm:cxn modelId="{88BDBB16-3955-4632-B83B-21BDC6B2FAB9}" srcId="{22D5BD7D-2E8D-478E-A9E9-F93DFD60822F}" destId="{8DD8113F-3048-40A9-8EC1-48C9434AE9D5}" srcOrd="1" destOrd="0" parTransId="{A6A15F87-D059-4B54-9240-8FA6FAB1AA11}" sibTransId="{7E72E34E-F8D6-4976-8500-1FDB964A1093}"/>
    <dgm:cxn modelId="{48C76931-764E-4E46-B9AE-F6A5150A8A32}" srcId="{22D5BD7D-2E8D-478E-A9E9-F93DFD60822F}" destId="{29A9AEB3-1C54-4E12-B059-0D2F8ED1614B}" srcOrd="0" destOrd="0" parTransId="{9FF34403-9B14-437A-8A20-24E31C6152CA}" sibTransId="{E12A0EB6-A256-4A0E-AA7A-712D58EA38F9}"/>
    <dgm:cxn modelId="{81F77749-EF3F-41D4-B107-045C3634334D}" srcId="{9F2803A7-90A0-4BC6-BC05-28FBD2D976FA}" destId="{1E7551E2-F93B-47D4-9821-DD67FEBEF221}" srcOrd="0" destOrd="0" parTransId="{35D105FF-3E6E-4E68-A8E2-85AC789B699F}" sibTransId="{3482EDDA-887F-4535-922A-A7894AA6FF27}"/>
    <dgm:cxn modelId="{B00CE04B-5B7D-42FA-81C6-EC6C82D6C67B}" type="presOf" srcId="{2F96AE4C-80EE-42F0-9C1C-F09A8B9EB6B1}" destId="{9CDF1165-2B21-4627-8D70-B6E057345958}" srcOrd="0" destOrd="2" presId="urn:microsoft.com/office/officeart/2005/8/layout/hList1"/>
    <dgm:cxn modelId="{7165D74D-6BFD-4210-8ABA-77B18A6E3AC1}" type="presOf" srcId="{22D5BD7D-2E8D-478E-A9E9-F93DFD60822F}" destId="{72E90577-3D0A-44A9-802D-7402B1482B47}" srcOrd="0" destOrd="0" presId="urn:microsoft.com/office/officeart/2005/8/layout/hList1"/>
    <dgm:cxn modelId="{C7531579-4B3E-4E9C-A637-CB5355321A5E}" type="presOf" srcId="{9F2803A7-90A0-4BC6-BC05-28FBD2D976FA}" destId="{CA9A1851-BC48-4982-B52D-BC9989FB78D2}" srcOrd="0" destOrd="0" presId="urn:microsoft.com/office/officeart/2005/8/layout/hList1"/>
    <dgm:cxn modelId="{6C1E4979-0D1B-4298-B1D9-B252DC74106A}" type="presOf" srcId="{E048B95C-A001-4DC8-A7B9-E10A52BE0629}" destId="{9CDF1165-2B21-4627-8D70-B6E057345958}" srcOrd="0" destOrd="1" presId="urn:microsoft.com/office/officeart/2005/8/layout/hList1"/>
    <dgm:cxn modelId="{7A17557C-68F8-460B-B2DB-AD1E9B339C1D}" srcId="{9F2803A7-90A0-4BC6-BC05-28FBD2D976FA}" destId="{22D5BD7D-2E8D-478E-A9E9-F93DFD60822F}" srcOrd="1" destOrd="0" parTransId="{0FC81F1A-D000-4B5D-A9D6-601EF1AA153F}" sibTransId="{514469A3-F785-4FB7-8162-EBEDC6170801}"/>
    <dgm:cxn modelId="{0590D27C-00A3-46A1-B525-278D462D6D9B}" type="presOf" srcId="{29A9AEB3-1C54-4E12-B059-0D2F8ED1614B}" destId="{CF05495E-421B-40F8-91AB-BC717C052FA2}" srcOrd="0" destOrd="0" presId="urn:microsoft.com/office/officeart/2005/8/layout/hList1"/>
    <dgm:cxn modelId="{AF69837F-3867-4E2F-B39B-191E07FEEA4F}" srcId="{22D5BD7D-2E8D-478E-A9E9-F93DFD60822F}" destId="{EAB071E8-CDD2-4E4F-8F34-A669EEE4D813}" srcOrd="3" destOrd="0" parTransId="{88AECF3A-DA6F-4E01-9F6E-DC956428531F}" sibTransId="{36C97ABB-C9CF-47D0-9358-749D9FADA06A}"/>
    <dgm:cxn modelId="{45D2B28C-15A1-44B9-9119-17C11CDEBD07}" type="presOf" srcId="{1E7551E2-F93B-47D4-9821-DD67FEBEF221}" destId="{0A6E60D1-F877-47D4-8B41-F856165E7A80}" srcOrd="0" destOrd="0" presId="urn:microsoft.com/office/officeart/2005/8/layout/hList1"/>
    <dgm:cxn modelId="{B966FE98-A212-43A6-9A1C-E4F1F6105032}" srcId="{1E7551E2-F93B-47D4-9821-DD67FEBEF221}" destId="{2F96AE4C-80EE-42F0-9C1C-F09A8B9EB6B1}" srcOrd="2" destOrd="0" parTransId="{993F732A-4C89-4B04-949B-565AF25BC9C1}" sibTransId="{840B5B38-E302-4593-A113-A37975CD5192}"/>
    <dgm:cxn modelId="{2455CDAC-E222-43F9-9142-8813BE8A5C89}" srcId="{1E7551E2-F93B-47D4-9821-DD67FEBEF221}" destId="{CDE93A3B-D304-4BF9-B63C-A18A03CC1339}" srcOrd="0" destOrd="0" parTransId="{AC4E72F0-4302-408C-9916-58033F307E66}" sibTransId="{B75563AB-8B5A-40CF-949E-A56EF8A4FEBC}"/>
    <dgm:cxn modelId="{687232AD-801E-49C7-A659-6917DB7391DF}" type="presOf" srcId="{CDE93A3B-D304-4BF9-B63C-A18A03CC1339}" destId="{9CDF1165-2B21-4627-8D70-B6E057345958}" srcOrd="0" destOrd="0" presId="urn:microsoft.com/office/officeart/2005/8/layout/hList1"/>
    <dgm:cxn modelId="{340CA8D4-8C91-4151-8F19-CD102E3F8CCC}" srcId="{1E7551E2-F93B-47D4-9821-DD67FEBEF221}" destId="{E048B95C-A001-4DC8-A7B9-E10A52BE0629}" srcOrd="1" destOrd="0" parTransId="{D46A2253-7F42-4F35-A6D0-B92212B2AA93}" sibTransId="{5FA6BCB9-9FAB-401C-AADA-2BAB1285B0E6}"/>
    <dgm:cxn modelId="{371B7BD9-6F73-40A3-9216-7B800D8FFB25}" type="presOf" srcId="{8DD8113F-3048-40A9-8EC1-48C9434AE9D5}" destId="{CF05495E-421B-40F8-91AB-BC717C052FA2}" srcOrd="0" destOrd="1" presId="urn:microsoft.com/office/officeart/2005/8/layout/hList1"/>
    <dgm:cxn modelId="{89902445-5C9C-4DEC-AF52-A6FEF9EB696B}" type="presParOf" srcId="{CA9A1851-BC48-4982-B52D-BC9989FB78D2}" destId="{9129533E-A104-45C5-A3B3-305C27EB86D4}" srcOrd="0" destOrd="0" presId="urn:microsoft.com/office/officeart/2005/8/layout/hList1"/>
    <dgm:cxn modelId="{DF7AF739-0732-4AA9-9990-97583BB98171}" type="presParOf" srcId="{9129533E-A104-45C5-A3B3-305C27EB86D4}" destId="{0A6E60D1-F877-47D4-8B41-F856165E7A80}" srcOrd="0" destOrd="0" presId="urn:microsoft.com/office/officeart/2005/8/layout/hList1"/>
    <dgm:cxn modelId="{BA89DBE8-F864-41DC-B5B3-EE7E81A28A4D}" type="presParOf" srcId="{9129533E-A104-45C5-A3B3-305C27EB86D4}" destId="{9CDF1165-2B21-4627-8D70-B6E057345958}" srcOrd="1" destOrd="0" presId="urn:microsoft.com/office/officeart/2005/8/layout/hList1"/>
    <dgm:cxn modelId="{BBF643C8-4331-4499-B743-2FE207F17EB9}" type="presParOf" srcId="{CA9A1851-BC48-4982-B52D-BC9989FB78D2}" destId="{BA2F7A74-7A3D-4692-B18C-DEEE183052BE}" srcOrd="1" destOrd="0" presId="urn:microsoft.com/office/officeart/2005/8/layout/hList1"/>
    <dgm:cxn modelId="{27CCB225-6587-49D5-A4FA-EAD3CC97C905}" type="presParOf" srcId="{CA9A1851-BC48-4982-B52D-BC9989FB78D2}" destId="{28FDC6B1-63B4-4B80-8398-8943F315BE9C}" srcOrd="2" destOrd="0" presId="urn:microsoft.com/office/officeart/2005/8/layout/hList1"/>
    <dgm:cxn modelId="{76BF201C-395D-46F7-9054-A027AFFD8F08}" type="presParOf" srcId="{28FDC6B1-63B4-4B80-8398-8943F315BE9C}" destId="{72E90577-3D0A-44A9-802D-7402B1482B47}" srcOrd="0" destOrd="0" presId="urn:microsoft.com/office/officeart/2005/8/layout/hList1"/>
    <dgm:cxn modelId="{0B39C839-4462-4100-BB73-959B02A80F29}" type="presParOf" srcId="{28FDC6B1-63B4-4B80-8398-8943F315BE9C}" destId="{CF05495E-421B-40F8-91AB-BC717C052FA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02B0C-73E3-4FE0-AE31-9D4E51D7D38F}">
      <dsp:nvSpPr>
        <dsp:cNvPr id="0" name=""/>
        <dsp:cNvSpPr/>
      </dsp:nvSpPr>
      <dsp:spPr>
        <a:xfrm>
          <a:off x="0" y="4366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F77850-9AEC-4F25-AA31-E89395EE4FF0}">
      <dsp:nvSpPr>
        <dsp:cNvPr id="0" name=""/>
        <dsp:cNvSpPr/>
      </dsp:nvSpPr>
      <dsp:spPr>
        <a:xfrm>
          <a:off x="281355" y="213639"/>
          <a:ext cx="511556" cy="511556"/>
        </a:xfrm>
        <a:prstGeom prst="rect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AE225C-FE04-4CE9-A9A3-60CAC3219064}">
      <dsp:nvSpPr>
        <dsp:cNvPr id="0" name=""/>
        <dsp:cNvSpPr/>
      </dsp:nvSpPr>
      <dsp:spPr>
        <a:xfrm>
          <a:off x="1074268" y="4366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oster</a:t>
          </a:r>
          <a:r>
            <a:rPr lang="en-US" sz="1900" kern="1200">
              <a:latin typeface="Calibri" panose="020F0502020204030204"/>
            </a:rPr>
            <a:t> completed</a:t>
          </a:r>
          <a:endParaRPr lang="en-US" sz="1900" kern="1200"/>
        </a:p>
      </dsp:txBody>
      <dsp:txXfrm>
        <a:off x="1074268" y="4366"/>
        <a:ext cx="5170996" cy="930102"/>
      </dsp:txXfrm>
    </dsp:sp>
    <dsp:sp modelId="{B9A615F9-4B41-4A9E-B2E1-37E1E8A3C4E0}">
      <dsp:nvSpPr>
        <dsp:cNvPr id="0" name=""/>
        <dsp:cNvSpPr/>
      </dsp:nvSpPr>
      <dsp:spPr>
        <a:xfrm>
          <a:off x="0" y="1166994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BF02F5-C0DC-4756-9F1A-E5A4EAD919C2}">
      <dsp:nvSpPr>
        <dsp:cNvPr id="0" name=""/>
        <dsp:cNvSpPr/>
      </dsp:nvSpPr>
      <dsp:spPr>
        <a:xfrm>
          <a:off x="281355" y="1376267"/>
          <a:ext cx="511556" cy="511556"/>
        </a:xfrm>
        <a:prstGeom prst="rect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D8196F-B337-4AF8-AF88-96A24CCD0947}">
      <dsp:nvSpPr>
        <dsp:cNvPr id="0" name=""/>
        <dsp:cNvSpPr/>
      </dsp:nvSpPr>
      <dsp:spPr>
        <a:xfrm>
          <a:off x="1074268" y="1166994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adiness survey</a:t>
          </a:r>
          <a:r>
            <a:rPr lang="en-US" sz="1900" kern="1200">
              <a:latin typeface="Calibri" panose="020F0502020204030204"/>
            </a:rPr>
            <a:t> submitted</a:t>
          </a:r>
          <a:endParaRPr lang="en-US" sz="1900" kern="1200"/>
        </a:p>
      </dsp:txBody>
      <dsp:txXfrm>
        <a:off x="1074268" y="1166994"/>
        <a:ext cx="5170996" cy="930102"/>
      </dsp:txXfrm>
    </dsp:sp>
    <dsp:sp modelId="{C835CB1C-8BCF-4E68-BA83-388E026FD4EC}">
      <dsp:nvSpPr>
        <dsp:cNvPr id="0" name=""/>
        <dsp:cNvSpPr/>
      </dsp:nvSpPr>
      <dsp:spPr>
        <a:xfrm>
          <a:off x="0" y="2329622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7798A9-D92B-4B89-8A82-E4C56811104B}">
      <dsp:nvSpPr>
        <dsp:cNvPr id="0" name=""/>
        <dsp:cNvSpPr/>
      </dsp:nvSpPr>
      <dsp:spPr>
        <a:xfrm>
          <a:off x="281355" y="2538895"/>
          <a:ext cx="511556" cy="511556"/>
        </a:xfrm>
        <a:prstGeom prst="rect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C93FD6-FE78-4E19-8113-215B862E0B3B}">
      <dsp:nvSpPr>
        <dsp:cNvPr id="0" name=""/>
        <dsp:cNvSpPr/>
      </dsp:nvSpPr>
      <dsp:spPr>
        <a:xfrm>
          <a:off x="1074268" y="2329622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Data submission Baseline-March</a:t>
          </a:r>
          <a:r>
            <a:rPr lang="en-US" sz="1900" kern="1200">
              <a:latin typeface="Aptos Display" panose="020F0302020204030204"/>
            </a:rPr>
            <a:t> 2024</a:t>
          </a:r>
          <a:endParaRPr lang="en-US" sz="1900" kern="1200"/>
        </a:p>
      </dsp:txBody>
      <dsp:txXfrm>
        <a:off x="1074268" y="2329622"/>
        <a:ext cx="5170996" cy="930102"/>
      </dsp:txXfrm>
    </dsp:sp>
    <dsp:sp modelId="{5337A328-9D44-4FD8-A65D-8843ECCBAEB9}">
      <dsp:nvSpPr>
        <dsp:cNvPr id="0" name=""/>
        <dsp:cNvSpPr/>
      </dsp:nvSpPr>
      <dsp:spPr>
        <a:xfrm>
          <a:off x="0" y="3492250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83B2FA-E8DD-4F67-ABC9-8F64E73C68CB}">
      <dsp:nvSpPr>
        <dsp:cNvPr id="0" name=""/>
        <dsp:cNvSpPr/>
      </dsp:nvSpPr>
      <dsp:spPr>
        <a:xfrm>
          <a:off x="281355" y="3701523"/>
          <a:ext cx="511556" cy="511556"/>
        </a:xfrm>
        <a:prstGeom prst="rect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C2D13B-CA3C-42DE-82A0-173555030FAA}">
      <dsp:nvSpPr>
        <dsp:cNvPr id="0" name=""/>
        <dsp:cNvSpPr/>
      </dsp:nvSpPr>
      <dsp:spPr>
        <a:xfrm>
          <a:off x="1074268" y="3492250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gular webinar attendance</a:t>
          </a:r>
          <a:endParaRPr lang="en-US" sz="1900" kern="1200"/>
        </a:p>
      </dsp:txBody>
      <dsp:txXfrm>
        <a:off x="1074268" y="3492250"/>
        <a:ext cx="5170996" cy="930102"/>
      </dsp:txXfrm>
    </dsp:sp>
    <dsp:sp modelId="{5615F553-8E0E-46E9-AADF-90659E3BED77}">
      <dsp:nvSpPr>
        <dsp:cNvPr id="0" name=""/>
        <dsp:cNvSpPr/>
      </dsp:nvSpPr>
      <dsp:spPr>
        <a:xfrm>
          <a:off x="0" y="4654878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8E9CB8-CF0C-4630-B17A-A79A810C1ED3}">
      <dsp:nvSpPr>
        <dsp:cNvPr id="0" name=""/>
        <dsp:cNvSpPr/>
      </dsp:nvSpPr>
      <dsp:spPr>
        <a:xfrm>
          <a:off x="281355" y="4864151"/>
          <a:ext cx="511556" cy="511556"/>
        </a:xfrm>
        <a:prstGeom prst="rect">
          <a:avLst/>
        </a:prstGeom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CD02C7-6B37-4267-AC58-EE3D761DFA40}">
      <dsp:nvSpPr>
        <dsp:cNvPr id="0" name=""/>
        <dsp:cNvSpPr/>
      </dsp:nvSpPr>
      <dsp:spPr>
        <a:xfrm>
          <a:off x="1074268" y="4654878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At least 1 ESSI team member registered and attended PQI Training </a:t>
          </a:r>
          <a:endParaRPr lang="en-US" sz="1900" kern="1200"/>
        </a:p>
      </dsp:txBody>
      <dsp:txXfrm>
        <a:off x="1074268" y="4654878"/>
        <a:ext cx="5170996" cy="9301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131C6F-7311-4A33-A9DE-E1E3BE163BA6}">
      <dsp:nvSpPr>
        <dsp:cNvPr id="0" name=""/>
        <dsp:cNvSpPr/>
      </dsp:nvSpPr>
      <dsp:spPr>
        <a:xfrm>
          <a:off x="1068905" y="0"/>
          <a:ext cx="4351338" cy="4351338"/>
        </a:xfrm>
        <a:prstGeom prst="diamond">
          <a:avLst/>
        </a:prstGeom>
        <a:solidFill>
          <a:srgbClr val="8AE3A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017B62-974B-4CCC-82D4-15FD309F3A58}">
      <dsp:nvSpPr>
        <dsp:cNvPr id="0" name=""/>
        <dsp:cNvSpPr/>
      </dsp:nvSpPr>
      <dsp:spPr>
        <a:xfrm>
          <a:off x="1482282" y="413377"/>
          <a:ext cx="1697021" cy="1697021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All physicians and providers, nurses, ancillary clinicians and hospital staff completing E-Modules</a:t>
          </a:r>
        </a:p>
      </dsp:txBody>
      <dsp:txXfrm>
        <a:off x="1565124" y="496219"/>
        <a:ext cx="1531337" cy="1531337"/>
      </dsp:txXfrm>
    </dsp:sp>
    <dsp:sp modelId="{67399538-B1C4-4C02-AA54-EC019EDC318E}">
      <dsp:nvSpPr>
        <dsp:cNvPr id="0" name=""/>
        <dsp:cNvSpPr/>
      </dsp:nvSpPr>
      <dsp:spPr>
        <a:xfrm>
          <a:off x="3309844" y="413377"/>
          <a:ext cx="1697021" cy="1697021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At least 1 ESSI Team Member attends PQI training</a:t>
          </a:r>
        </a:p>
      </dsp:txBody>
      <dsp:txXfrm>
        <a:off x="3392686" y="496219"/>
        <a:ext cx="1531337" cy="1531337"/>
      </dsp:txXfrm>
    </dsp:sp>
    <dsp:sp modelId="{AD986641-CB14-4D63-8E1D-83F37749B4CF}">
      <dsp:nvSpPr>
        <dsp:cNvPr id="0" name=""/>
        <dsp:cNvSpPr/>
      </dsp:nvSpPr>
      <dsp:spPr>
        <a:xfrm>
          <a:off x="1482282" y="2240939"/>
          <a:ext cx="1697021" cy="1697021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Calibri" panose="020F0502020204030204"/>
            </a:rPr>
            <a:t>Host</a:t>
          </a:r>
          <a:r>
            <a:rPr lang="en-US" sz="1500" kern="1200"/>
            <a:t> at least 1 facilitated discussion</a:t>
          </a:r>
        </a:p>
      </dsp:txBody>
      <dsp:txXfrm>
        <a:off x="1565124" y="2323781"/>
        <a:ext cx="1531337" cy="1531337"/>
      </dsp:txXfrm>
    </dsp:sp>
    <dsp:sp modelId="{41B30F7D-63E8-4828-A2D7-8618F5B94D35}">
      <dsp:nvSpPr>
        <dsp:cNvPr id="0" name=""/>
        <dsp:cNvSpPr/>
      </dsp:nvSpPr>
      <dsp:spPr>
        <a:xfrm>
          <a:off x="3309844" y="2240939"/>
          <a:ext cx="1697021" cy="1697021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ystem to facilitate feedback from peers, parents and families </a:t>
          </a:r>
        </a:p>
      </dsp:txBody>
      <dsp:txXfrm>
        <a:off x="3392686" y="2323781"/>
        <a:ext cx="1531337" cy="15313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CBA07D-2FFC-4844-9439-7ACE1858F8CE}">
      <dsp:nvSpPr>
        <dsp:cNvPr id="0" name=""/>
        <dsp:cNvSpPr/>
      </dsp:nvSpPr>
      <dsp:spPr>
        <a:xfrm>
          <a:off x="0" y="0"/>
          <a:ext cx="3380267" cy="418523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539" tIns="330200" rIns="263539" bIns="33020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"/>
              <a:cs typeface="Calibri"/>
            </a:rPr>
            <a:t>Select cases from those solicited from residents and faculty via email where (1) implicit bias and/or racism played a role in patient outcomes and (2) that were appropriate for further explanation using implicit bias and structural racism as a lens</a:t>
          </a:r>
        </a:p>
      </dsp:txBody>
      <dsp:txXfrm>
        <a:off x="0" y="1590390"/>
        <a:ext cx="3380267" cy="2511143"/>
      </dsp:txXfrm>
    </dsp:sp>
    <dsp:sp modelId="{CA8BC1A7-1E17-405F-A824-4D23A6F60A0F}">
      <dsp:nvSpPr>
        <dsp:cNvPr id="0" name=""/>
        <dsp:cNvSpPr/>
      </dsp:nvSpPr>
      <dsp:spPr>
        <a:xfrm>
          <a:off x="1062347" y="418523"/>
          <a:ext cx="1255571" cy="1255571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889" tIns="12700" rIns="97889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1</a:t>
          </a:r>
        </a:p>
      </dsp:txBody>
      <dsp:txXfrm>
        <a:off x="1246221" y="602397"/>
        <a:ext cx="887823" cy="887823"/>
      </dsp:txXfrm>
    </dsp:sp>
    <dsp:sp modelId="{D30B1E82-D9E1-4ED4-8BDD-1A4621C3F917}">
      <dsp:nvSpPr>
        <dsp:cNvPr id="0" name=""/>
        <dsp:cNvSpPr/>
      </dsp:nvSpPr>
      <dsp:spPr>
        <a:xfrm>
          <a:off x="0" y="4185167"/>
          <a:ext cx="3380267" cy="72"/>
        </a:xfrm>
        <a:prstGeom prst="rect">
          <a:avLst/>
        </a:prstGeom>
        <a:solidFill>
          <a:schemeClr val="accent2">
            <a:hueOff val="1288722"/>
            <a:satOff val="-3699"/>
            <a:lumOff val="-5922"/>
            <a:alphaOff val="0"/>
          </a:schemeClr>
        </a:solidFill>
        <a:ln w="19050" cap="flat" cmpd="sng" algn="ctr">
          <a:solidFill>
            <a:schemeClr val="accent2">
              <a:hueOff val="1288722"/>
              <a:satOff val="-3699"/>
              <a:lumOff val="-5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221FAF-1D3E-43E2-B8C1-C873E7548D72}">
      <dsp:nvSpPr>
        <dsp:cNvPr id="0" name=""/>
        <dsp:cNvSpPr/>
      </dsp:nvSpPr>
      <dsp:spPr>
        <a:xfrm>
          <a:off x="3718293" y="0"/>
          <a:ext cx="3380267" cy="4185239"/>
        </a:xfrm>
        <a:prstGeom prst="rect">
          <a:avLst/>
        </a:prstGeom>
        <a:solidFill>
          <a:schemeClr val="accent2">
            <a:tint val="40000"/>
            <a:alpha val="90000"/>
            <a:hueOff val="3367362"/>
            <a:satOff val="-31116"/>
            <a:lumOff val="-3508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3367362"/>
              <a:satOff val="-31116"/>
              <a:lumOff val="-350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539" tIns="330200" rIns="263539" bIns="33020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Present the</a:t>
          </a:r>
          <a:r>
            <a:rPr lang="en-US" sz="1600" kern="1200">
              <a:latin typeface="Aptos Display" panose="020F0302020204030204"/>
            </a:rPr>
            <a:t> selected</a:t>
          </a:r>
          <a:r>
            <a:rPr lang="en-US" sz="1600" kern="1200"/>
            <a:t> medical case</a:t>
          </a:r>
          <a:r>
            <a:rPr lang="en-US" sz="1600" kern="1200">
              <a:latin typeface="Aptos Display" panose="020F0302020204030204"/>
            </a:rPr>
            <a:t> in a Health</a:t>
          </a:r>
          <a:r>
            <a:rPr lang="en-US" sz="1600" kern="1200"/>
            <a:t> </a:t>
          </a:r>
          <a:r>
            <a:rPr lang="en-US" sz="1600" kern="1200">
              <a:latin typeface="Aptos Display" panose="020F0302020204030204"/>
            </a:rPr>
            <a:t>Equity Rounds during</a:t>
          </a:r>
          <a:r>
            <a:rPr lang="en-US" sz="1600" kern="1200"/>
            <a:t> existing or new departmental meetings </a:t>
          </a:r>
          <a:endParaRPr lang="en-US" sz="1600" kern="1200">
            <a:latin typeface="Calibri"/>
            <a:cs typeface="Calibri"/>
          </a:endParaRPr>
        </a:p>
      </dsp:txBody>
      <dsp:txXfrm>
        <a:off x="3718293" y="1590390"/>
        <a:ext cx="3380267" cy="2511143"/>
      </dsp:txXfrm>
    </dsp:sp>
    <dsp:sp modelId="{EEE29602-755C-418E-AA74-75C954A25F94}">
      <dsp:nvSpPr>
        <dsp:cNvPr id="0" name=""/>
        <dsp:cNvSpPr/>
      </dsp:nvSpPr>
      <dsp:spPr>
        <a:xfrm>
          <a:off x="4780641" y="418523"/>
          <a:ext cx="1255571" cy="1255571"/>
        </a:xfrm>
        <a:prstGeom prst="ellipse">
          <a:avLst/>
        </a:prstGeom>
        <a:solidFill>
          <a:schemeClr val="accent2">
            <a:hueOff val="2577445"/>
            <a:satOff val="-7397"/>
            <a:lumOff val="-11844"/>
            <a:alphaOff val="0"/>
          </a:schemeClr>
        </a:solidFill>
        <a:ln w="19050" cap="flat" cmpd="sng" algn="ctr">
          <a:solidFill>
            <a:schemeClr val="accent2">
              <a:hueOff val="2577445"/>
              <a:satOff val="-7397"/>
              <a:lumOff val="-1184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889" tIns="12700" rIns="97889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2</a:t>
          </a:r>
        </a:p>
      </dsp:txBody>
      <dsp:txXfrm>
        <a:off x="4964515" y="602397"/>
        <a:ext cx="887823" cy="887823"/>
      </dsp:txXfrm>
    </dsp:sp>
    <dsp:sp modelId="{9F636BA9-B9C5-4782-8C62-AE4D5509E509}">
      <dsp:nvSpPr>
        <dsp:cNvPr id="0" name=""/>
        <dsp:cNvSpPr/>
      </dsp:nvSpPr>
      <dsp:spPr>
        <a:xfrm>
          <a:off x="3718293" y="4185167"/>
          <a:ext cx="3380267" cy="72"/>
        </a:xfrm>
        <a:prstGeom prst="rect">
          <a:avLst/>
        </a:prstGeom>
        <a:solidFill>
          <a:schemeClr val="accent2">
            <a:hueOff val="3866168"/>
            <a:satOff val="-11096"/>
            <a:lumOff val="-17765"/>
            <a:alphaOff val="0"/>
          </a:schemeClr>
        </a:solidFill>
        <a:ln w="19050" cap="flat" cmpd="sng" algn="ctr">
          <a:solidFill>
            <a:schemeClr val="accent2">
              <a:hueOff val="3866168"/>
              <a:satOff val="-11096"/>
              <a:lumOff val="-1776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CCE8BF-C63F-403C-8BC5-FFC87033D9D9}">
      <dsp:nvSpPr>
        <dsp:cNvPr id="0" name=""/>
        <dsp:cNvSpPr/>
      </dsp:nvSpPr>
      <dsp:spPr>
        <a:xfrm>
          <a:off x="7436587" y="0"/>
          <a:ext cx="3380267" cy="4185239"/>
        </a:xfrm>
        <a:prstGeom prst="rect">
          <a:avLst/>
        </a:prstGeom>
        <a:solidFill>
          <a:schemeClr val="accent2">
            <a:tint val="40000"/>
            <a:alpha val="90000"/>
            <a:hueOff val="6734724"/>
            <a:satOff val="-62232"/>
            <a:lumOff val="-7015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6734724"/>
              <a:satOff val="-62232"/>
              <a:lumOff val="-70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539" tIns="330200" rIns="263539" bIns="33020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Provide advocacy tools to enhance providers' confidence in their abilities to combat bias</a:t>
          </a:r>
          <a:endParaRPr lang="en-US" sz="1600" kern="1200">
            <a:latin typeface="Calibri"/>
            <a:cs typeface="Calibri"/>
          </a:endParaRPr>
        </a:p>
      </dsp:txBody>
      <dsp:txXfrm>
        <a:off x="7436587" y="1590390"/>
        <a:ext cx="3380267" cy="2511143"/>
      </dsp:txXfrm>
    </dsp:sp>
    <dsp:sp modelId="{E2625CA3-F61B-41A4-90FE-17F1E6BD97B1}">
      <dsp:nvSpPr>
        <dsp:cNvPr id="0" name=""/>
        <dsp:cNvSpPr/>
      </dsp:nvSpPr>
      <dsp:spPr>
        <a:xfrm>
          <a:off x="8498935" y="418523"/>
          <a:ext cx="1255571" cy="1255571"/>
        </a:xfrm>
        <a:prstGeom prst="ellipse">
          <a:avLst/>
        </a:prstGeom>
        <a:solidFill>
          <a:schemeClr val="accent2">
            <a:hueOff val="5154890"/>
            <a:satOff val="-14794"/>
            <a:lumOff val="-23687"/>
            <a:alphaOff val="0"/>
          </a:schemeClr>
        </a:solidFill>
        <a:ln w="19050" cap="flat" cmpd="sng" algn="ctr">
          <a:solidFill>
            <a:schemeClr val="accent2">
              <a:hueOff val="5154890"/>
              <a:satOff val="-14794"/>
              <a:lumOff val="-2368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889" tIns="12700" rIns="97889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3</a:t>
          </a:r>
        </a:p>
      </dsp:txBody>
      <dsp:txXfrm>
        <a:off x="8682809" y="602397"/>
        <a:ext cx="887823" cy="887823"/>
      </dsp:txXfrm>
    </dsp:sp>
    <dsp:sp modelId="{0842CD35-F874-42CE-BD66-BE403075A66F}">
      <dsp:nvSpPr>
        <dsp:cNvPr id="0" name=""/>
        <dsp:cNvSpPr/>
      </dsp:nvSpPr>
      <dsp:spPr>
        <a:xfrm>
          <a:off x="7436587" y="4185167"/>
          <a:ext cx="3380267" cy="72"/>
        </a:xfrm>
        <a:prstGeom prst="rect">
          <a:avLst/>
        </a:prstGeom>
        <a:solidFill>
          <a:schemeClr val="accent2">
            <a:hueOff val="6443612"/>
            <a:satOff val="-18493"/>
            <a:lumOff val="-29609"/>
            <a:alphaOff val="0"/>
          </a:schemeClr>
        </a:solidFill>
        <a:ln w="19050" cap="flat" cmpd="sng" algn="ctr">
          <a:solidFill>
            <a:schemeClr val="accent2">
              <a:hueOff val="6443612"/>
              <a:satOff val="-18493"/>
              <a:lumOff val="-2960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131C6F-7311-4A33-A9DE-E1E3BE163BA6}">
      <dsp:nvSpPr>
        <dsp:cNvPr id="0" name=""/>
        <dsp:cNvSpPr/>
      </dsp:nvSpPr>
      <dsp:spPr>
        <a:xfrm>
          <a:off x="1068905" y="0"/>
          <a:ext cx="4351338" cy="4351338"/>
        </a:xfrm>
        <a:prstGeom prst="diamond">
          <a:avLst/>
        </a:prstGeom>
        <a:solidFill>
          <a:srgbClr val="8AE3A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017B62-974B-4CCC-82D4-15FD309F3A58}">
      <dsp:nvSpPr>
        <dsp:cNvPr id="0" name=""/>
        <dsp:cNvSpPr/>
      </dsp:nvSpPr>
      <dsp:spPr>
        <a:xfrm>
          <a:off x="1482282" y="413377"/>
          <a:ext cx="1697021" cy="1697021"/>
        </a:xfrm>
        <a:prstGeom prst="roundRect">
          <a:avLst/>
        </a:prstGeom>
        <a:solidFill>
          <a:srgbClr val="00B05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All physicians and providers, nurses, ancillary clinicians and hospital staff completing E-Modules</a:t>
          </a:r>
        </a:p>
      </dsp:txBody>
      <dsp:txXfrm>
        <a:off x="1565124" y="496219"/>
        <a:ext cx="1531337" cy="1531337"/>
      </dsp:txXfrm>
    </dsp:sp>
    <dsp:sp modelId="{67399538-B1C4-4C02-AA54-EC019EDC318E}">
      <dsp:nvSpPr>
        <dsp:cNvPr id="0" name=""/>
        <dsp:cNvSpPr/>
      </dsp:nvSpPr>
      <dsp:spPr>
        <a:xfrm>
          <a:off x="3309844" y="413377"/>
          <a:ext cx="1697021" cy="1697021"/>
        </a:xfrm>
        <a:prstGeom prst="roundRect">
          <a:avLst/>
        </a:prstGeom>
        <a:solidFill>
          <a:srgbClr val="00B05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At least 1 ESSI Team Member attends PQI training</a:t>
          </a:r>
        </a:p>
      </dsp:txBody>
      <dsp:txXfrm>
        <a:off x="3392686" y="496219"/>
        <a:ext cx="1531337" cy="1531337"/>
      </dsp:txXfrm>
    </dsp:sp>
    <dsp:sp modelId="{AD986641-CB14-4D63-8E1D-83F37749B4CF}">
      <dsp:nvSpPr>
        <dsp:cNvPr id="0" name=""/>
        <dsp:cNvSpPr/>
      </dsp:nvSpPr>
      <dsp:spPr>
        <a:xfrm>
          <a:off x="1482282" y="2240939"/>
          <a:ext cx="1697021" cy="1697021"/>
        </a:xfrm>
        <a:prstGeom prst="roundRect">
          <a:avLst/>
        </a:prstGeom>
        <a:solidFill>
          <a:srgbClr val="00B05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Calibri" panose="020F0502020204030204"/>
            </a:rPr>
            <a:t>Host</a:t>
          </a:r>
          <a:r>
            <a:rPr lang="en-US" sz="1400" kern="1200"/>
            <a:t> at least 1 facilitated discussion</a:t>
          </a:r>
        </a:p>
      </dsp:txBody>
      <dsp:txXfrm>
        <a:off x="1565124" y="2323781"/>
        <a:ext cx="1531337" cy="1531337"/>
      </dsp:txXfrm>
    </dsp:sp>
    <dsp:sp modelId="{41B30F7D-63E8-4828-A2D7-8618F5B94D35}">
      <dsp:nvSpPr>
        <dsp:cNvPr id="0" name=""/>
        <dsp:cNvSpPr/>
      </dsp:nvSpPr>
      <dsp:spPr>
        <a:xfrm>
          <a:off x="3309844" y="2240939"/>
          <a:ext cx="1697021" cy="1697021"/>
        </a:xfrm>
        <a:prstGeom prst="roundRect">
          <a:avLst/>
        </a:prstGeom>
        <a:solidFill>
          <a:srgbClr val="00B05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ystem to facilitate feedback from peers, parents and families </a:t>
          </a:r>
        </a:p>
      </dsp:txBody>
      <dsp:txXfrm>
        <a:off x="3392686" y="2323781"/>
        <a:ext cx="1531337" cy="153133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E60D1-F877-47D4-8B41-F856165E7A80}">
      <dsp:nvSpPr>
        <dsp:cNvPr id="0" name=""/>
        <dsp:cNvSpPr/>
      </dsp:nvSpPr>
      <dsp:spPr>
        <a:xfrm>
          <a:off x="54" y="21764"/>
          <a:ext cx="5259304" cy="864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3360" tIns="121920" rIns="213360" bIns="12192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>
              <a:latin typeface="DM Sans"/>
              <a:cs typeface="Calibri"/>
            </a:rPr>
            <a:t>Hospital Level Data form</a:t>
          </a:r>
        </a:p>
      </dsp:txBody>
      <dsp:txXfrm>
        <a:off x="54" y="21764"/>
        <a:ext cx="5259304" cy="864000"/>
      </dsp:txXfrm>
    </dsp:sp>
    <dsp:sp modelId="{9CDF1165-2B21-4627-8D70-B6E057345958}">
      <dsp:nvSpPr>
        <dsp:cNvPr id="0" name=""/>
        <dsp:cNvSpPr/>
      </dsp:nvSpPr>
      <dsp:spPr>
        <a:xfrm>
          <a:off x="54" y="885764"/>
          <a:ext cx="5259304" cy="423330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0020" tIns="160020" rIns="213360" bIns="240030" numCol="1" spcCol="1270" anchor="t" anchorCtr="0">
          <a:noAutofit/>
        </a:bodyPr>
        <a:lstStyle/>
        <a:p>
          <a:pPr marL="285750" lvl="1" indent="-285750" algn="l" defTabSz="13335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000" kern="1200">
              <a:latin typeface="DM Sans"/>
              <a:cs typeface="Calibri"/>
            </a:rPr>
            <a:t>Structure Measures </a:t>
          </a:r>
        </a:p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000" kern="1200">
              <a:latin typeface="DM Sans"/>
              <a:cs typeface="Calibri"/>
            </a:rPr>
            <a:t>Education Measures</a:t>
          </a:r>
        </a:p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000" kern="1200">
              <a:latin typeface="DM Sans"/>
              <a:cs typeface="Calibri"/>
            </a:rPr>
            <a:t>Crib Audits</a:t>
          </a:r>
        </a:p>
      </dsp:txBody>
      <dsp:txXfrm>
        <a:off x="54" y="885764"/>
        <a:ext cx="5259304" cy="4233304"/>
      </dsp:txXfrm>
    </dsp:sp>
    <dsp:sp modelId="{72E90577-3D0A-44A9-802D-7402B1482B47}">
      <dsp:nvSpPr>
        <dsp:cNvPr id="0" name=""/>
        <dsp:cNvSpPr/>
      </dsp:nvSpPr>
      <dsp:spPr>
        <a:xfrm>
          <a:off x="5995661" y="21764"/>
          <a:ext cx="5259304" cy="8640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3360" tIns="121920" rIns="213360" bIns="12192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>
              <a:latin typeface="DM Sans"/>
              <a:cs typeface="Calibri"/>
            </a:rPr>
            <a:t>Patient Level Data form</a:t>
          </a:r>
        </a:p>
      </dsp:txBody>
      <dsp:txXfrm>
        <a:off x="5995661" y="21764"/>
        <a:ext cx="5259304" cy="864000"/>
      </dsp:txXfrm>
    </dsp:sp>
    <dsp:sp modelId="{CF05495E-421B-40F8-91AB-BC717C052FA2}">
      <dsp:nvSpPr>
        <dsp:cNvPr id="0" name=""/>
        <dsp:cNvSpPr/>
      </dsp:nvSpPr>
      <dsp:spPr>
        <a:xfrm>
          <a:off x="5995661" y="885764"/>
          <a:ext cx="5259304" cy="4233304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0020" tIns="160020" rIns="213360" bIns="240030" numCol="1" spcCol="1270" anchor="t" anchorCtr="0">
          <a:noAutofit/>
        </a:bodyPr>
        <a:lstStyle/>
        <a:p>
          <a:pPr marL="285750" lvl="1" indent="-285750" algn="l" defTabSz="13335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000" kern="1200">
              <a:latin typeface="DM Sans"/>
              <a:cs typeface="Calibri"/>
            </a:rPr>
            <a:t>Random sample of 20 newborns discharged each month​ per unit</a:t>
          </a:r>
        </a:p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000" kern="1200">
              <a:latin typeface="DM Sans"/>
              <a:cs typeface="Calibri"/>
            </a:rPr>
            <a:t>Newborn and birthing person demographic data​</a:t>
          </a:r>
        </a:p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000" kern="1200">
              <a:latin typeface="DM Sans"/>
              <a:cs typeface="Calibri"/>
            </a:rPr>
            <a:t>Safe sleep education​</a:t>
          </a:r>
        </a:p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000" kern="1200">
              <a:latin typeface="DM Sans"/>
              <a:cs typeface="Calibri"/>
            </a:rPr>
            <a:t>Transfer of care documentation​</a:t>
          </a:r>
        </a:p>
      </dsp:txBody>
      <dsp:txXfrm>
        <a:off x="5995661" y="885764"/>
        <a:ext cx="5259304" cy="42333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6/7/layout/BasicLinearProcessNumbered">
  <dgm:title val="Basic Linear Process Numbered"/>
  <dgm:desc val="Used to show a progression; a timeline; sequential steps in a task, process, or workflow; or to emphasize movement or direction. Automatic numbers have been introduced to show the steps of the process which appears in a circle. Level 1 and Level 2 text appear in a rectangl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2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0.1"/>
      <dgm:constr type="primFontSz" for="des" forName="sibTransNodeCircle" op="equ"/>
      <dgm:constr type="primFontSz" for="des" forName="nodeText" op="equ"/>
      <dgm:constr type="h" for="des" forName="sibTransNodeCircle" op="equ"/>
      <dgm:constr type="w" for="des" forName="sibTransNodeCircle" op="equ"/>
    </dgm:constrLst>
    <dgm:ruleLst>
      <dgm:rule type="h" val="NaN" fact="1.2" max="NaN"/>
    </dgm:ruleLst>
    <dgm:forEach name="Name4" axis="ch" ptType="node">
      <dgm:layoutNode name="compositeNode">
        <dgm:varLst>
          <dgm:bulletEnabled val="1"/>
        </dgm:varLst>
        <dgm:alg type="composite"/>
        <dgm:constrLst>
          <dgm:constr type="h" refType="w" op="lte" fact="1.4"/>
          <dgm:constr type="w" for="ch" forName="bgRect" refType="w"/>
          <dgm:constr type="h" for="ch" forName="bgRect" refType="h"/>
          <dgm:constr type="t" for="ch" forName="bgRect"/>
          <dgm:constr type="l" for="ch" forName="bgRect"/>
          <dgm:constr type="h" for="ch" forName="sibTransNodeCircle" refType="h" refFor="ch" refForName="bgRect" fact="0.3"/>
          <dgm:constr type="w" for="ch" forName="sibTransNodeCircle" refType="h" refFor="ch" refForName="sibTransNodeCircle"/>
          <dgm:constr type="ctrX" for="ch" forName="sibTransNodeCircle" refType="w" fact="0.5"/>
          <dgm:constr type="ctrY" for="ch" forName="sibTransNodeCircle" refType="h" fact="0.25"/>
          <dgm:constr type="r" for="ch" forName="nodeText" refType="r" refFor="ch" refForName="bgRect"/>
          <dgm:constr type="h" for="ch" forName="nodeText" refType="h" refFor="ch" refForName="bgRect" fact="0.6"/>
          <dgm:constr type="t" for="ch" forName="nodeText" refType="h" refFor="ch" refForName="bgRect" fact="0.38"/>
          <dgm:constr type="b" for="ch" forName="bottomLine" refType="b" refFor="ch" refForName="bgRect"/>
          <dgm:constr type="w" for="ch" forName="bottomLine" refType="w" refFor="ch" refForName="bgRect"/>
          <dgm:constr type="h" for="ch" forName="bottomLine" val="0.002"/>
        </dgm:constrLst>
        <dgm:ruleLst/>
        <dgm:layoutNode name="bgRect" styleLbl="bgAccFollowNode1">
          <dgm:alg type="sp"/>
          <dgm:shape xmlns:r="http://schemas.openxmlformats.org/officeDocument/2006/relationships" type="rect" r:blip="">
            <dgm:adjLst/>
          </dgm:shape>
          <dgm:presOf axis="self"/>
          <dgm:constrLst/>
          <dgm:ruleLst/>
        </dgm:layoutNode>
        <dgm:forEach name="Name19" axis="followSib" ptType="sibTrans" hideLastTrans="0" cnt="1">
          <dgm:layoutNode name="sibTransNodeCircle" styleLbl="alignNode1">
            <dgm:varLst>
              <dgm:chMax val="0"/>
              <dgm:bulletEnabled/>
            </dgm:varLst>
            <dgm:presOf axis="self" ptType="sibTrans"/>
            <dgm:alg type="tx">
              <dgm:param type="txAnchorVert" val="mid"/>
              <dgm:param type="txAnchorHorzCh" val="ctr"/>
            </dgm:alg>
            <dgm:shape xmlns:r="http://schemas.openxmlformats.org/officeDocument/2006/relationships" type="ellipse" r:blip="">
              <dgm:adjLst/>
            </dgm:shape>
            <dgm:constrLst>
              <dgm:constr type="w" refType="h" op="lte"/>
              <dgm:constr type="primFontSz" val="48"/>
              <dgm:constr type="tMarg" val="1"/>
              <dgm:constr type="lMarg" refType="w" fact="0.221"/>
              <dgm:constr type="rMarg" refType="w" fact="0.221"/>
              <dgm:constr type="bMarg" val="1"/>
            </dgm:constrLst>
            <dgm:ruleLst>
              <dgm:rule type="primFontSz" val="14" fact="NaN" max="NaN"/>
            </dgm:ruleLst>
          </dgm:layoutNode>
        </dgm:forEach>
        <dgm:layoutNode name="bottomLine" styleLbl="alignNode1">
          <dgm:varLst/>
          <dgm:presOf/>
          <dgm:alg type="sp"/>
          <dgm:shape xmlns:r="http://schemas.openxmlformats.org/officeDocument/2006/relationships" type="rect" r:blip="">
            <dgm:adjLst/>
          </dgm:shape>
          <dgm:constrLst/>
          <dgm:ruleLst/>
        </dgm:layoutNode>
        <dgm:layoutNode name="nodeText" styleLbl="bgAccFollowNode1" moveWith="bgRect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-1" hideGeom="1">
            <dgm:adjLst/>
          </dgm:shape>
          <dgm:presOf axis="desOrSelf" ptType="node"/>
          <dgm:constrLst>
            <dgm:constr type="primFontSz" val="26"/>
            <dgm:constr type="tMarg" val="26"/>
            <dgm:constr type="lMarg" refType="w" fact="0.221"/>
            <dgm:constr type="rMarg" refType="w" fact="0.221"/>
            <dgm:constr type="bMarg" val="26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0">
            <a:buAutoNum type="arabicParenBoth"/>
          </dgm1611:buPr>
        </dgm1611:autoBuNodeInfo>
      </dgm1611:autoBuNodeInfoLst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1-26T01:11:36.566"/>
    </inkml:context>
    <inkml:brush xml:id="br0">
      <inkml:brushProperty name="width" value="0.1" units="cm"/>
      <inkml:brushProperty name="height" value="0.1" units="cm"/>
    </inkml:brush>
  </inkml:definitions>
  <inkml:trace contextRef="#ctx0" brushRef="#br0">6586 7064 16383 0 0,'-8'0'0'0'0,"-12"0"0"0"0,-3 0 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BBA65-082A-4B12-8C12-008467D70980}" type="datetimeFigureOut">
              <a:t>7/22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2C71E-C066-413C-8B82-ED7EB3E3A74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330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9326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5612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0617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F93A94-4013-D87A-4F59-2686D52CDE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22EEB1-6A24-403D-66CA-9834A301EE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BCE7CD8-5AD3-3913-ADE1-21E42E4065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B82EC3-59C0-5D57-30D7-3787A079D9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0412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0850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8222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1637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5926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8993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472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4610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1838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0547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80098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9652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03411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1567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EF1CA4-6A72-486C-8A5D-154F56316662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29119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EF1CA4-6A72-486C-8A5D-154F56316662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4935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F09D18-EB49-094A-868B-44F9DCDBE273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1874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53233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6507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7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430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085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272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7" name="Google Shape;12687;p11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dirty="0">
              <a:cs typeface="Calibri"/>
            </a:endParaRPr>
          </a:p>
        </p:txBody>
      </p:sp>
      <p:sp>
        <p:nvSpPr>
          <p:cNvPr id="12688" name="Google Shape;12688;p1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3123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695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49.emf"/><Relationship Id="rId5" Type="http://schemas.openxmlformats.org/officeDocument/2006/relationships/image" Target="../media/image48.emf"/><Relationship Id="rId4" Type="http://schemas.openxmlformats.org/officeDocument/2006/relationships/image" Target="../media/image47.emf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0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7.emf"/><Relationship Id="rId4" Type="http://schemas.openxmlformats.org/officeDocument/2006/relationships/oleObject" Target="../embeddings/oleObject2.bin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2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7.emf"/><Relationship Id="rId4" Type="http://schemas.openxmlformats.org/officeDocument/2006/relationships/oleObject" Target="../embeddings/oleObject4.bin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49.emf"/><Relationship Id="rId5" Type="http://schemas.openxmlformats.org/officeDocument/2006/relationships/image" Target="../media/image48.emf"/><Relationship Id="rId4" Type="http://schemas.openxmlformats.org/officeDocument/2006/relationships/image" Target="../media/image47.emf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0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7.emf"/><Relationship Id="rId4" Type="http://schemas.openxmlformats.org/officeDocument/2006/relationships/oleObject" Target="../embeddings/oleObject7.bin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49.emf"/><Relationship Id="rId5" Type="http://schemas.openxmlformats.org/officeDocument/2006/relationships/image" Target="../media/image48.emf"/><Relationship Id="rId4" Type="http://schemas.openxmlformats.org/officeDocument/2006/relationships/image" Target="../media/image47.emf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9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7.emf"/><Relationship Id="rId4" Type="http://schemas.openxmlformats.org/officeDocument/2006/relationships/oleObject" Target="../embeddings/oleObject10.bin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2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47.emf"/><Relationship Id="rId4" Type="http://schemas.openxmlformats.org/officeDocument/2006/relationships/oleObject" Target="../embeddings/oleObject12.bin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2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2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2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2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2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2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2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49.emf"/><Relationship Id="rId5" Type="http://schemas.openxmlformats.org/officeDocument/2006/relationships/image" Target="../media/image48.emf"/><Relationship Id="rId4" Type="http://schemas.openxmlformats.org/officeDocument/2006/relationships/image" Target="../media/image47.emf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9.jpe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47.emf"/><Relationship Id="rId4" Type="http://schemas.openxmlformats.org/officeDocument/2006/relationships/oleObject" Target="../embeddings/oleObject15.bin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2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1.png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4.jpe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4.jpe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6.jpe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04397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818642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478154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290199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5857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1101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0083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24913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2136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955519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52295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6688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86211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794969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690752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7472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2736332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327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033178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5946389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272769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8664717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79154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63227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4324774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4764384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6634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50536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9558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418468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43467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5659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00802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379294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9257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1672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503774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600236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9855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182600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49953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41060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6164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61694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3841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7126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3226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120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739849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663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76459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1980005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1158550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2274610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656940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05929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1234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450066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683148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612349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684694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922304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798206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990995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00287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698946972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562560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489293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0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177511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09929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72AFD1-971D-AB8C-2400-64A0BA2A75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8C0AD9-2DEF-5C28-842E-29C45A543C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463C2E-53F2-F16B-2B36-D211EB3EC8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90CB5-A9F6-2196-215F-D660585DD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389A7B-7168-2D4C-04A6-06C36BFF6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024197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4C702-D7A5-BF8C-127A-7EBB74FA9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DB9386-4BD3-6F35-7EC2-CCD645204C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6FEB48-4F38-F6BC-828B-B346BDBC9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BB314D-B115-3CA4-DADC-23B96A5FF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759574-4FA8-E2A1-41A8-1E7DD7143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361594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E6338-F42A-98CB-7C5C-EB0095D8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1A27F0-DA45-7DB5-401E-D6E673A75A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A53D58-501A-7955-395A-F27887E56F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2E4161-5E62-9AE3-71CC-3F35EE0D19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50E26B-C164-DB1F-4244-F7591C1DF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16680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B101F-26E3-4EC5-C379-7158A34E2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78861E-3255-DB53-718C-803E684BE1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5A27A3-2D7B-FA04-5DA8-A8DDD6F0D1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D2E13-6EC7-AE89-8463-3BFA53D79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C7247D-51CC-1E28-6867-5D29AE729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17023B-5C90-8B32-D3A1-89278F611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502072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DBA1E5-8884-5A1F-6055-AD9E845A4E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531BB9-2F75-E714-66E2-EA1D8126F7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9FFD98-13DE-A821-BDB5-69BF5261E9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E31A6B-49E2-99F0-160B-7AD4C543DE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B7314D-C5BD-DA04-6840-608387CC1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3D1F177-2053-C02B-1609-76C2B3830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42A155-C5FB-D1ED-13C4-4817614918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B80A0C-3C8A-E046-A29B-98E14B565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031772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196F61-C98D-9058-2E6A-F2EEE808F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C780FF-CF09-AF31-6736-89C0AADE14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0EA766-F4C6-9ABF-54AC-CCA1DAE56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E26F77-5B0A-5AE0-18F4-4956F3FCF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4444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DE905E-4F45-B4BD-DB9A-2A5786485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985092-3D71-F3CC-4599-DD34D8A4F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C8F00C-B8B9-1644-71FF-A50EA75F7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1592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30840-6682-EFDA-4B01-705167790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577650-F46B-DB57-A68C-89846FD93A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9FD8B0-8456-F04E-D227-F447364550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CCC6B5-0027-2953-98BE-DBF74AB2C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026100-99A7-8442-8922-C5830C4BA2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FE89C9-E5FA-C244-AC7F-DFD31A0FE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157989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6F3EB6-37F0-884F-F071-E4F0CD717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75B9C2-E647-17A3-EFC9-A5B02141FE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D05081-5096-0BAD-F714-B27D84BC2C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C0DFDC-A196-BBEC-64EC-9CB6F7069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401546-AD37-2699-FB63-0B5265F69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67B1BF-1C27-E044-7D44-19482F703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997434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183E17-AAE9-28CB-97E9-FA1BF7751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66278D-A6AE-2D60-7998-50A64636E4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84800C-689F-0DE5-D330-3EE4B9423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6C4744-94B7-63A8-D3E0-467FC66D1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31E1E-A8EC-A328-4D91-BFCAAAB1C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43984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6E1E1C4-111A-0167-2D6F-1B09281455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7D7062-13E6-4AFE-FB27-9F29BD8B8C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517711-AB35-DC24-2386-CA293ED0D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B4D53B-E1DA-C55D-044F-E3BE850758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BEE74-360E-7C79-B721-899F09390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844382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5BD1EDE-17B0-1D49-A2E9-A02460C0BB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5" y="0"/>
            <a:ext cx="121793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524001"/>
            <a:ext cx="4899025" cy="3848100"/>
          </a:xfrm>
        </p:spPr>
        <p:txBody>
          <a:bodyPr tIns="0" bIns="228600" anchor="b" anchorCtr="0">
            <a:noAutofit/>
          </a:bodyPr>
          <a:lstStyle>
            <a:lvl1pPr>
              <a:lnSpc>
                <a:spcPct val="10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445DE1D-B262-6140-9162-47C7C8AB7F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5372100"/>
            <a:ext cx="4899025" cy="574676"/>
          </a:xfrm>
          <a:prstGeom prst="rect">
            <a:avLst/>
          </a:prstGeom>
        </p:spPr>
        <p:txBody>
          <a:bodyPr tIns="91440" anchor="t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15C3223-E131-BB4A-8700-51420B67020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2620208" y="0"/>
            <a:ext cx="9571792" cy="6858000"/>
          </a:xfrm>
          <a:custGeom>
            <a:avLst/>
            <a:gdLst>
              <a:gd name="connsiteX0" fmla="*/ 3002885 w 5064631"/>
              <a:gd name="connsiteY0" fmla="*/ 3265923 h 3628711"/>
              <a:gd name="connsiteX1" fmla="*/ 3426086 w 5064631"/>
              <a:gd name="connsiteY1" fmla="*/ 3628711 h 3628711"/>
              <a:gd name="connsiteX2" fmla="*/ 2342944 w 5064631"/>
              <a:gd name="connsiteY2" fmla="*/ 3628711 h 3628711"/>
              <a:gd name="connsiteX3" fmla="*/ 2579503 w 5064631"/>
              <a:gd name="connsiteY3" fmla="*/ 3502658 h 3628711"/>
              <a:gd name="connsiteX4" fmla="*/ 1718367 w 5064631"/>
              <a:gd name="connsiteY4" fmla="*/ 0 h 3628711"/>
              <a:gd name="connsiteX5" fmla="*/ 5064631 w 5064631"/>
              <a:gd name="connsiteY5" fmla="*/ 0 h 3628711"/>
              <a:gd name="connsiteX6" fmla="*/ 5064631 w 5064631"/>
              <a:gd name="connsiteY6" fmla="*/ 3628711 h 3628711"/>
              <a:gd name="connsiteX7" fmla="*/ 3628295 w 5064631"/>
              <a:gd name="connsiteY7" fmla="*/ 3628711 h 3628711"/>
              <a:gd name="connsiteX8" fmla="*/ 3063891 w 5064631"/>
              <a:gd name="connsiteY8" fmla="*/ 3159813 h 3628711"/>
              <a:gd name="connsiteX9" fmla="*/ 3053761 w 5064631"/>
              <a:gd name="connsiteY9" fmla="*/ 3149864 h 3628711"/>
              <a:gd name="connsiteX10" fmla="*/ 3038746 w 5064631"/>
              <a:gd name="connsiteY10" fmla="*/ 3134668 h 3628711"/>
              <a:gd name="connsiteX11" fmla="*/ 2947935 w 5064631"/>
              <a:gd name="connsiteY11" fmla="*/ 3038971 h 3628711"/>
              <a:gd name="connsiteX12" fmla="*/ 2942870 w 5064631"/>
              <a:gd name="connsiteY12" fmla="*/ 3033906 h 3628711"/>
              <a:gd name="connsiteX13" fmla="*/ 2796884 w 5064631"/>
              <a:gd name="connsiteY13" fmla="*/ 2877607 h 3628711"/>
              <a:gd name="connsiteX14" fmla="*/ 2791638 w 5064631"/>
              <a:gd name="connsiteY14" fmla="*/ 2872722 h 3628711"/>
              <a:gd name="connsiteX15" fmla="*/ 2771558 w 5064631"/>
              <a:gd name="connsiteY15" fmla="*/ 2852461 h 3628711"/>
              <a:gd name="connsiteX16" fmla="*/ 2761428 w 5064631"/>
              <a:gd name="connsiteY16" fmla="*/ 2842512 h 3628711"/>
              <a:gd name="connsiteX17" fmla="*/ 2756544 w 5064631"/>
              <a:gd name="connsiteY17" fmla="*/ 2837266 h 3628711"/>
              <a:gd name="connsiteX18" fmla="*/ 2746232 w 5064631"/>
              <a:gd name="connsiteY18" fmla="*/ 2827316 h 3628711"/>
              <a:gd name="connsiteX19" fmla="*/ 2716204 w 5064631"/>
              <a:gd name="connsiteY19" fmla="*/ 2792040 h 3628711"/>
              <a:gd name="connsiteX20" fmla="*/ 1839387 w 5064631"/>
              <a:gd name="connsiteY20" fmla="*/ 1764155 h 3628711"/>
              <a:gd name="connsiteX21" fmla="*/ 831420 w 5064631"/>
              <a:gd name="connsiteY21" fmla="*/ 665538 h 3628711"/>
              <a:gd name="connsiteX22" fmla="*/ 685253 w 5064631"/>
              <a:gd name="connsiteY22" fmla="*/ 534384 h 3628711"/>
              <a:gd name="connsiteX23" fmla="*/ 1088477 w 5064631"/>
              <a:gd name="connsiteY23" fmla="*/ 307533 h 3628711"/>
              <a:gd name="connsiteX24" fmla="*/ 1718367 w 5064631"/>
              <a:gd name="connsiteY24" fmla="*/ 0 h 3628711"/>
              <a:gd name="connsiteX25" fmla="*/ 0 w 5064631"/>
              <a:gd name="connsiteY25" fmla="*/ 0 h 3628711"/>
              <a:gd name="connsiteX26" fmla="*/ 1421381 w 5064631"/>
              <a:gd name="connsiteY26" fmla="*/ 0 h 3628711"/>
              <a:gd name="connsiteX27" fmla="*/ 1028222 w 5064631"/>
              <a:gd name="connsiteY27" fmla="*/ 201844 h 3628711"/>
              <a:gd name="connsiteX28" fmla="*/ 589649 w 5064631"/>
              <a:gd name="connsiteY28" fmla="*/ 448944 h 3628711"/>
              <a:gd name="connsiteX29" fmla="*/ 0 w 5064631"/>
              <a:gd name="connsiteY29" fmla="*/ 0 h 3628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064631" h="3628711">
                <a:moveTo>
                  <a:pt x="3002885" y="3265923"/>
                </a:moveTo>
                <a:cubicBezTo>
                  <a:pt x="3143952" y="3396860"/>
                  <a:pt x="3285019" y="3517849"/>
                  <a:pt x="3426086" y="3628711"/>
                </a:cubicBezTo>
                <a:cubicBezTo>
                  <a:pt x="3426086" y="3628711"/>
                  <a:pt x="3426086" y="3628711"/>
                  <a:pt x="2342944" y="3628711"/>
                </a:cubicBezTo>
                <a:cubicBezTo>
                  <a:pt x="2488894" y="3558179"/>
                  <a:pt x="2569375" y="3507721"/>
                  <a:pt x="2579503" y="3502658"/>
                </a:cubicBezTo>
                <a:close/>
                <a:moveTo>
                  <a:pt x="1718367" y="0"/>
                </a:moveTo>
                <a:lnTo>
                  <a:pt x="5064631" y="0"/>
                </a:lnTo>
                <a:cubicBezTo>
                  <a:pt x="5064631" y="0"/>
                  <a:pt x="5064631" y="0"/>
                  <a:pt x="5064631" y="3628711"/>
                </a:cubicBezTo>
                <a:cubicBezTo>
                  <a:pt x="5064631" y="3628711"/>
                  <a:pt x="5064631" y="3628711"/>
                  <a:pt x="3628295" y="3628711"/>
                </a:cubicBezTo>
                <a:cubicBezTo>
                  <a:pt x="3436723" y="3487608"/>
                  <a:pt x="3250216" y="3331308"/>
                  <a:pt x="3063891" y="3159813"/>
                </a:cubicBezTo>
                <a:cubicBezTo>
                  <a:pt x="3063891" y="3159813"/>
                  <a:pt x="3063891" y="3159813"/>
                  <a:pt x="3053761" y="3149864"/>
                </a:cubicBezTo>
                <a:cubicBezTo>
                  <a:pt x="3048696" y="3144980"/>
                  <a:pt x="3043630" y="3139734"/>
                  <a:pt x="3038746" y="3134668"/>
                </a:cubicBezTo>
                <a:cubicBezTo>
                  <a:pt x="3008355" y="3104638"/>
                  <a:pt x="2978326" y="3074247"/>
                  <a:pt x="2947935" y="3038971"/>
                </a:cubicBezTo>
                <a:cubicBezTo>
                  <a:pt x="2947935" y="3038971"/>
                  <a:pt x="2942870" y="3038971"/>
                  <a:pt x="2942870" y="3033906"/>
                </a:cubicBezTo>
                <a:cubicBezTo>
                  <a:pt x="2892399" y="2983615"/>
                  <a:pt x="2842109" y="2933143"/>
                  <a:pt x="2796884" y="2877607"/>
                </a:cubicBezTo>
                <a:cubicBezTo>
                  <a:pt x="2791638" y="2877607"/>
                  <a:pt x="2791638" y="2877607"/>
                  <a:pt x="2791638" y="2872722"/>
                </a:cubicBezTo>
                <a:cubicBezTo>
                  <a:pt x="2786573" y="2867657"/>
                  <a:pt x="2776624" y="2862592"/>
                  <a:pt x="2771558" y="2852461"/>
                </a:cubicBezTo>
                <a:cubicBezTo>
                  <a:pt x="2766493" y="2847577"/>
                  <a:pt x="2766493" y="2847577"/>
                  <a:pt x="2761428" y="2842512"/>
                </a:cubicBezTo>
                <a:lnTo>
                  <a:pt x="2756544" y="2837266"/>
                </a:lnTo>
                <a:cubicBezTo>
                  <a:pt x="2751298" y="2832381"/>
                  <a:pt x="2751298" y="2832381"/>
                  <a:pt x="2746232" y="2827316"/>
                </a:cubicBezTo>
                <a:cubicBezTo>
                  <a:pt x="2736283" y="2817185"/>
                  <a:pt x="2726153" y="2802170"/>
                  <a:pt x="2716204" y="2792040"/>
                </a:cubicBezTo>
                <a:cubicBezTo>
                  <a:pt x="2418987" y="2469492"/>
                  <a:pt x="2126474" y="2131748"/>
                  <a:pt x="1839387" y="1764155"/>
                </a:cubicBezTo>
                <a:cubicBezTo>
                  <a:pt x="1516845" y="1355860"/>
                  <a:pt x="1179107" y="982841"/>
                  <a:pt x="831420" y="665538"/>
                </a:cubicBezTo>
                <a:cubicBezTo>
                  <a:pt x="781130" y="619951"/>
                  <a:pt x="735543" y="574725"/>
                  <a:pt x="685253" y="534384"/>
                </a:cubicBezTo>
                <a:cubicBezTo>
                  <a:pt x="685253" y="534384"/>
                  <a:pt x="685253" y="534384"/>
                  <a:pt x="1088477" y="307533"/>
                </a:cubicBezTo>
                <a:cubicBezTo>
                  <a:pt x="1093361" y="302649"/>
                  <a:pt x="1330339" y="166430"/>
                  <a:pt x="1718367" y="0"/>
                </a:cubicBezTo>
                <a:close/>
                <a:moveTo>
                  <a:pt x="0" y="0"/>
                </a:moveTo>
                <a:cubicBezTo>
                  <a:pt x="0" y="0"/>
                  <a:pt x="0" y="0"/>
                  <a:pt x="1421381" y="0"/>
                </a:cubicBezTo>
                <a:cubicBezTo>
                  <a:pt x="1179479" y="110969"/>
                  <a:pt x="1043420" y="196775"/>
                  <a:pt x="1028222" y="201844"/>
                </a:cubicBezTo>
                <a:cubicBezTo>
                  <a:pt x="1028222" y="201844"/>
                  <a:pt x="1028222" y="201844"/>
                  <a:pt x="589649" y="448944"/>
                </a:cubicBezTo>
                <a:cubicBezTo>
                  <a:pt x="393160" y="282581"/>
                  <a:pt x="196670" y="131244"/>
                  <a:pt x="0" y="0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tIns="2743200">
            <a:noAutofit/>
          </a:bodyPr>
          <a:lstStyle>
            <a:lvl1pPr algn="ctr"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49F22EB-0190-4540-9632-EBF1F4745FE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30469"/>
            <a:ext cx="2101903" cy="9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711677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out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D59479C-23FD-2645-A8EC-4A5C82CC4F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7683498" cy="6857999"/>
          </a:xfrm>
          <a:prstGeom prst="rect">
            <a:avLst/>
          </a:prstGeom>
          <a:solidFill>
            <a:schemeClr val="bg2"/>
          </a:solidFill>
        </p:spPr>
        <p:txBody>
          <a:bodyPr tIns="283464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6B05759-94FE-E140-9D8E-D32524029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1174" y="460375"/>
            <a:ext cx="3606800" cy="5487202"/>
          </a:xfrm>
          <a:prstGeom prst="rect">
            <a:avLst/>
          </a:prstGeom>
        </p:spPr>
        <p:txBody>
          <a:bodyPr tIns="0" bIns="91440" anchor="ctr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000" b="1">
                <a:solidFill>
                  <a:schemeClr val="accent1"/>
                </a:solidFill>
              </a:defRPr>
            </a:lvl1pPr>
            <a:lvl2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2pPr>
            <a:lvl3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3pPr>
            <a:lvl4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4pPr>
            <a:lvl5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5pPr>
            <a:lvl6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6pPr>
            <a:lvl7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7pPr>
            <a:lvl8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8pPr>
            <a:lvl9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D97DE9-189F-4887-87C3-F4BFE3C6F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0445" y="6358647"/>
            <a:ext cx="2016517" cy="23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426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82089770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1text_imag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66181D5-F853-7B4C-8667-F4979C91F4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085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658D06-2FEA-3944-B0CD-9B388AABF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8"/>
            <a:r>
              <a:rPr lang="en-US"/>
              <a:t>D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7180B0-63B5-D64F-AFC9-312A31063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AE81AA-2929-3B4F-837F-9F7345F8C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0B8B044-B05D-6A4D-837B-07CD45228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3" y="1781176"/>
            <a:ext cx="5524503" cy="4165600"/>
          </a:xfrm>
          <a:prstGeom prst="rect">
            <a:avLst/>
          </a:prstGeom>
          <a:solidFill>
            <a:schemeClr val="bg2"/>
          </a:solidFill>
        </p:spPr>
        <p:txBody>
          <a:bodyPr tIns="15544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526FED9-CC22-9D47-84CE-81A20AA9CB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0374"/>
            <a:ext cx="10004425" cy="1063625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754C81-B73D-4D4C-BB20-71F8734C68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0445" y="6358647"/>
            <a:ext cx="2016517" cy="235975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40DA681-511D-49EB-9EE4-0979C2F3D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781175"/>
            <a:ext cx="5518150" cy="4165600"/>
          </a:xfrm>
          <a:prstGeom prst="rect">
            <a:avLst/>
          </a:prstGeom>
        </p:spPr>
        <p:txBody>
          <a:bodyPr tIns="0"/>
          <a:lstStyle>
            <a:lvl3pPr marL="457200" indent="-174625">
              <a:defRPr/>
            </a:lvl3pPr>
            <a:lvl4pPr marL="688975" indent="-173038">
              <a:defRPr/>
            </a:lvl4pPr>
            <a:lvl5pPr marL="914400" indent="-168275">
              <a:defRPr/>
            </a:lvl5pPr>
          </a:lstStyle>
          <a:p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Text level 1 – 20pt Calibri bold (subheads)</a:t>
            </a:r>
          </a:p>
          <a:p>
            <a:pPr lvl="2"/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Text level 2 dot - 20pt Calibri (Dot point 1) </a:t>
            </a:r>
          </a:p>
          <a:p>
            <a:pPr lvl="3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level 3 – 18pt Calibri (Dot point 2)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Lorem ipsum dolor sit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me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consectetuer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dipiscing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eli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lvl="4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level 4 – 18pt Calibri (Dot point 3) 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Lorem ipsum dolor sit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me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consectetuer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dipiscing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eli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947988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1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013712B-6C67-0345-B946-9E211703D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085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658D06-2FEA-3944-B0CD-9B388AABF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8"/>
            <a:r>
              <a:rPr lang="en-US"/>
              <a:t>D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7180B0-63B5-D64F-AFC9-312A31063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AE81AA-2929-3B4F-837F-9F7345F8C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D04FA55-8342-EB47-8FB5-64A8F1FA3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F5CDA1-DE12-495B-9028-8E1816F554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0445" y="6358647"/>
            <a:ext cx="2016517" cy="235975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4E9D2F-4AB6-41EA-B54E-6C1F7F0261A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198" y="1781175"/>
            <a:ext cx="10004427" cy="4165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Text level 1 – 20pt Calibri bold (subheads)</a:t>
            </a:r>
          </a:p>
          <a:p>
            <a:pPr lvl="2"/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Text level 2 dot - 20pt Calibri (Dot point 1) </a:t>
            </a:r>
          </a:p>
          <a:p>
            <a:pPr lvl="3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level 3 – 18pt Calibri (Dot point 2)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Lorem ipsum dolor sit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me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consectetuer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dipiscing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eli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lvl="4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level 4 – 18pt Calibri (Dot point 3) 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Lorem ipsum dolor sit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me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consectetuer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dipiscing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eli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211053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out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D59479C-23FD-2645-A8EC-4A5C82CC4F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658D06-2FEA-3944-B0CD-9B388AABF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8"/>
            <a:r>
              <a:rPr lang="en-US"/>
              <a:t>Dat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6B05759-94FE-E140-9D8E-D325240292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1" y="460375"/>
            <a:ext cx="3848099" cy="5487202"/>
          </a:xfrm>
          <a:prstGeom prst="rect">
            <a:avLst/>
          </a:prstGeom>
        </p:spPr>
        <p:txBody>
          <a:bodyPr tIns="274320" bIns="0" anchor="ctr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bg1"/>
                </a:solidFill>
              </a:defRPr>
            </a:lvl2pPr>
            <a:lvl3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bg1"/>
                </a:solidFill>
              </a:defRPr>
            </a:lvl3pPr>
            <a:lvl4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bg1"/>
                </a:solidFill>
              </a:defRPr>
            </a:lvl4pPr>
            <a:lvl5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bg1"/>
                </a:solidFill>
              </a:defRPr>
            </a:lvl5pPr>
            <a:lvl6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bg1"/>
                </a:solidFill>
              </a:defRPr>
            </a:lvl6pPr>
            <a:lvl7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bg1"/>
                </a:solidFill>
              </a:defRPr>
            </a:lvl7pPr>
            <a:lvl8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bg1"/>
                </a:solidFill>
              </a:defRPr>
            </a:lvl8pPr>
            <a:lvl9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9D8CA870-BD79-F645-8217-87CBD861A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3048" y="6364783"/>
            <a:ext cx="5202302" cy="2319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FE81C9B-3101-A045-AB83-C9CD967FF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198" y="6362701"/>
            <a:ext cx="315849" cy="2319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260D536-CA98-4A12-9C54-1703E47BB0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0445" y="6358647"/>
            <a:ext cx="2016517" cy="235975"/>
          </a:xfrm>
          <a:prstGeom prst="rect">
            <a:avLst/>
          </a:prstGeom>
        </p:spPr>
      </p:pic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ECD401F-DE40-4B15-8DBE-2B9DC34E60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08277" y="1586192"/>
            <a:ext cx="5518150" cy="4165600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chemeClr val="accent2"/>
                </a:solidFill>
              </a:defRPr>
            </a:lvl1pPr>
            <a:lvl3pPr marL="457200" indent="-174625">
              <a:defRPr/>
            </a:lvl3pPr>
            <a:lvl4pPr marL="688975" indent="-173038">
              <a:defRPr/>
            </a:lvl4pPr>
            <a:lvl5pPr marL="914400" indent="-168275">
              <a:defRPr/>
            </a:lvl5pPr>
          </a:lstStyle>
          <a:p>
            <a:r>
              <a:rPr lang="en-US" b="1">
                <a:latin typeface="Calibri" panose="020F0502020204030204" pitchFamily="34" charset="0"/>
                <a:cs typeface="Calibri" panose="020F0502020204030204" pitchFamily="34" charset="0"/>
              </a:rPr>
              <a:t>Text level 1 – 20pt Calibri bold (subheads)</a:t>
            </a:r>
          </a:p>
          <a:p>
            <a:pPr lvl="2"/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Text level 2 dot - 20pt Calibri (Dot point 1) </a:t>
            </a:r>
          </a:p>
          <a:p>
            <a:pPr lvl="3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level 3 – 18pt Calibri (Dot point 2)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Lorem ipsum dolor sit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me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consectetuer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dipiscing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eli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lvl="4"/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level 4 – 18pt Calibri (Dot point 3) 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Lorem ipsum dolor sit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me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consectetuer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adipiscing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0" err="1">
                <a:latin typeface="Calibri" panose="020F0502020204030204" pitchFamily="34" charset="0"/>
                <a:cs typeface="Calibri" panose="020F0502020204030204" pitchFamily="34" charset="0"/>
              </a:rPr>
              <a:t>elit</a:t>
            </a:r>
            <a:r>
              <a:rPr lang="en-US" b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4977884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full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D59479C-23FD-2645-A8EC-4A5C82CC4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658D06-2FEA-3944-B0CD-9B388AABF5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8"/>
            <a:r>
              <a:rPr lang="en-US"/>
              <a:t>D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7180B0-63B5-D64F-AFC9-312A31063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AE81AA-2929-3B4F-837F-9F7345F8C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594757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6B05759-94FE-E140-9D8E-D325240292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45300" y="1"/>
            <a:ext cx="3841750" cy="5947576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0" indent="0">
              <a:lnSpc>
                <a:spcPct val="1500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2pPr>
            <a:lvl3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3pPr>
            <a:lvl4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4pPr>
            <a:lvl5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5pPr>
            <a:lvl6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6pPr>
            <a:lvl7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7pPr>
            <a:lvl8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8pPr>
            <a:lvl9pPr marL="0" indent="0">
              <a:lnSpc>
                <a:spcPts val="3400"/>
              </a:lnSpc>
              <a:spcAft>
                <a:spcPts val="0"/>
              </a:spcAft>
              <a:buFontTx/>
              <a:buNone/>
              <a:defRPr sz="32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 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55801EB-BF98-4989-92CD-91270271F8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0445" y="6358647"/>
            <a:ext cx="2016517" cy="23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133636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85298C9-43D4-492E-9748-F8E727DAA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4713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FD1512-8093-944C-A0B0-3654E6CD24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36725" y="2835477"/>
            <a:ext cx="3619500" cy="3112885"/>
          </a:xfrm>
        </p:spPr>
        <p:txBody>
          <a:bodyPr tIns="228600"/>
          <a:lstStyle>
            <a:lvl1pPr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2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20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20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2000">
                <a:solidFill>
                  <a:schemeClr val="bg1"/>
                </a:solidFill>
              </a:defRPr>
            </a:lvl5pPr>
            <a:lvl6pPr marL="0" indent="0">
              <a:lnSpc>
                <a:spcPts val="1600"/>
              </a:lnSpc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6pPr>
            <a:lvl7pPr marL="0" indent="0">
              <a:lnSpc>
                <a:spcPts val="1600"/>
              </a:lnSpc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7pPr>
            <a:lvl8pPr marL="0" indent="0">
              <a:lnSpc>
                <a:spcPts val="1600"/>
              </a:lnSpc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8pPr>
            <a:lvl9pPr marL="0" indent="0">
              <a:lnSpc>
                <a:spcPts val="1600"/>
              </a:lnSpc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4170C-453C-524B-9C59-8FB91C746E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36725" y="460375"/>
            <a:ext cx="3619500" cy="2375103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DB84A717-BE19-4505-AAB0-AE14AC619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7743" y="5735435"/>
            <a:ext cx="2020713" cy="92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8951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77585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234064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724374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537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2.xml"/><Relationship Id="rId21" Type="http://schemas.openxmlformats.org/officeDocument/2006/relationships/slideLayout" Target="../slideLayouts/slideLayout36.xml"/><Relationship Id="rId324" Type="http://schemas.openxmlformats.org/officeDocument/2006/relationships/slideLayout" Target="../slideLayouts/slideLayout339.xml"/><Relationship Id="rId531" Type="http://schemas.openxmlformats.org/officeDocument/2006/relationships/slideLayout" Target="../slideLayouts/slideLayout546.xml"/><Relationship Id="rId629" Type="http://schemas.openxmlformats.org/officeDocument/2006/relationships/slideLayout" Target="../slideLayouts/slideLayout644.xml"/><Relationship Id="rId170" Type="http://schemas.openxmlformats.org/officeDocument/2006/relationships/slideLayout" Target="../slideLayouts/slideLayout185.xml"/><Relationship Id="rId268" Type="http://schemas.openxmlformats.org/officeDocument/2006/relationships/slideLayout" Target="../slideLayouts/slideLayout283.xml"/><Relationship Id="rId475" Type="http://schemas.openxmlformats.org/officeDocument/2006/relationships/slideLayout" Target="../slideLayouts/slideLayout490.xml"/><Relationship Id="rId32" Type="http://schemas.openxmlformats.org/officeDocument/2006/relationships/slideLayout" Target="../slideLayouts/slideLayout47.xml"/><Relationship Id="rId128" Type="http://schemas.openxmlformats.org/officeDocument/2006/relationships/slideLayout" Target="../slideLayouts/slideLayout143.xml"/><Relationship Id="rId335" Type="http://schemas.openxmlformats.org/officeDocument/2006/relationships/slideLayout" Target="../slideLayouts/slideLayout350.xml"/><Relationship Id="rId542" Type="http://schemas.openxmlformats.org/officeDocument/2006/relationships/slideLayout" Target="../slideLayouts/slideLayout557.xml"/><Relationship Id="rId181" Type="http://schemas.openxmlformats.org/officeDocument/2006/relationships/slideLayout" Target="../slideLayouts/slideLayout196.xml"/><Relationship Id="rId402" Type="http://schemas.openxmlformats.org/officeDocument/2006/relationships/slideLayout" Target="../slideLayouts/slideLayout417.xml"/><Relationship Id="rId279" Type="http://schemas.openxmlformats.org/officeDocument/2006/relationships/slideLayout" Target="../slideLayouts/slideLayout294.xml"/><Relationship Id="rId486" Type="http://schemas.openxmlformats.org/officeDocument/2006/relationships/slideLayout" Target="../slideLayouts/slideLayout501.xml"/><Relationship Id="rId43" Type="http://schemas.openxmlformats.org/officeDocument/2006/relationships/slideLayout" Target="../slideLayouts/slideLayout58.xml"/><Relationship Id="rId139" Type="http://schemas.openxmlformats.org/officeDocument/2006/relationships/slideLayout" Target="../slideLayouts/slideLayout154.xml"/><Relationship Id="rId346" Type="http://schemas.openxmlformats.org/officeDocument/2006/relationships/slideLayout" Target="../slideLayouts/slideLayout361.xml"/><Relationship Id="rId553" Type="http://schemas.openxmlformats.org/officeDocument/2006/relationships/slideLayout" Target="../slideLayouts/slideLayout568.xml"/><Relationship Id="rId192" Type="http://schemas.openxmlformats.org/officeDocument/2006/relationships/slideLayout" Target="../slideLayouts/slideLayout207.xml"/><Relationship Id="rId206" Type="http://schemas.openxmlformats.org/officeDocument/2006/relationships/slideLayout" Target="../slideLayouts/slideLayout221.xml"/><Relationship Id="rId413" Type="http://schemas.openxmlformats.org/officeDocument/2006/relationships/slideLayout" Target="../slideLayouts/slideLayout428.xml"/><Relationship Id="rId497" Type="http://schemas.openxmlformats.org/officeDocument/2006/relationships/slideLayout" Target="../slideLayouts/slideLayout512.xml"/><Relationship Id="rId620" Type="http://schemas.openxmlformats.org/officeDocument/2006/relationships/slideLayout" Target="../slideLayouts/slideLayout635.xml"/><Relationship Id="rId357" Type="http://schemas.openxmlformats.org/officeDocument/2006/relationships/slideLayout" Target="../slideLayouts/slideLayout372.xml"/><Relationship Id="rId54" Type="http://schemas.openxmlformats.org/officeDocument/2006/relationships/slideLayout" Target="../slideLayouts/slideLayout69.xml"/><Relationship Id="rId217" Type="http://schemas.openxmlformats.org/officeDocument/2006/relationships/slideLayout" Target="../slideLayouts/slideLayout232.xml"/><Relationship Id="rId564" Type="http://schemas.openxmlformats.org/officeDocument/2006/relationships/slideLayout" Target="../slideLayouts/slideLayout579.xml"/><Relationship Id="rId424" Type="http://schemas.openxmlformats.org/officeDocument/2006/relationships/slideLayout" Target="../slideLayouts/slideLayout439.xml"/><Relationship Id="rId631" Type="http://schemas.openxmlformats.org/officeDocument/2006/relationships/slideLayout" Target="../slideLayouts/slideLayout646.xml"/><Relationship Id="rId270" Type="http://schemas.openxmlformats.org/officeDocument/2006/relationships/slideLayout" Target="../slideLayouts/slideLayout285.xml"/><Relationship Id="rId65" Type="http://schemas.openxmlformats.org/officeDocument/2006/relationships/slideLayout" Target="../slideLayouts/slideLayout80.xml"/><Relationship Id="rId130" Type="http://schemas.openxmlformats.org/officeDocument/2006/relationships/slideLayout" Target="../slideLayouts/slideLayout145.xml"/><Relationship Id="rId368" Type="http://schemas.openxmlformats.org/officeDocument/2006/relationships/slideLayout" Target="../slideLayouts/slideLayout383.xml"/><Relationship Id="rId575" Type="http://schemas.openxmlformats.org/officeDocument/2006/relationships/slideLayout" Target="../slideLayouts/slideLayout590.xml"/><Relationship Id="rId228" Type="http://schemas.openxmlformats.org/officeDocument/2006/relationships/slideLayout" Target="../slideLayouts/slideLayout243.xml"/><Relationship Id="rId435" Type="http://schemas.openxmlformats.org/officeDocument/2006/relationships/slideLayout" Target="../slideLayouts/slideLayout450.xml"/><Relationship Id="rId642" Type="http://schemas.openxmlformats.org/officeDocument/2006/relationships/theme" Target="../theme/theme2.xml"/><Relationship Id="rId281" Type="http://schemas.openxmlformats.org/officeDocument/2006/relationships/slideLayout" Target="../slideLayouts/slideLayout296.xml"/><Relationship Id="rId502" Type="http://schemas.openxmlformats.org/officeDocument/2006/relationships/slideLayout" Target="../slideLayouts/slideLayout517.xml"/><Relationship Id="rId76" Type="http://schemas.openxmlformats.org/officeDocument/2006/relationships/slideLayout" Target="../slideLayouts/slideLayout91.xml"/><Relationship Id="rId141" Type="http://schemas.openxmlformats.org/officeDocument/2006/relationships/slideLayout" Target="../slideLayouts/slideLayout156.xml"/><Relationship Id="rId379" Type="http://schemas.openxmlformats.org/officeDocument/2006/relationships/slideLayout" Target="../slideLayouts/slideLayout394.xml"/><Relationship Id="rId586" Type="http://schemas.openxmlformats.org/officeDocument/2006/relationships/slideLayout" Target="../slideLayouts/slideLayout601.xml"/><Relationship Id="rId7" Type="http://schemas.openxmlformats.org/officeDocument/2006/relationships/slideLayout" Target="../slideLayouts/slideLayout22.xml"/><Relationship Id="rId239" Type="http://schemas.openxmlformats.org/officeDocument/2006/relationships/slideLayout" Target="../slideLayouts/slideLayout254.xml"/><Relationship Id="rId446" Type="http://schemas.openxmlformats.org/officeDocument/2006/relationships/slideLayout" Target="../slideLayouts/slideLayout461.xml"/><Relationship Id="rId292" Type="http://schemas.openxmlformats.org/officeDocument/2006/relationships/slideLayout" Target="../slideLayouts/slideLayout307.xml"/><Relationship Id="rId306" Type="http://schemas.openxmlformats.org/officeDocument/2006/relationships/slideLayout" Target="../slideLayouts/slideLayout321.xml"/><Relationship Id="rId87" Type="http://schemas.openxmlformats.org/officeDocument/2006/relationships/slideLayout" Target="../slideLayouts/slideLayout102.xml"/><Relationship Id="rId513" Type="http://schemas.openxmlformats.org/officeDocument/2006/relationships/slideLayout" Target="../slideLayouts/slideLayout528.xml"/><Relationship Id="rId597" Type="http://schemas.openxmlformats.org/officeDocument/2006/relationships/slideLayout" Target="../slideLayouts/slideLayout612.xml"/><Relationship Id="rId152" Type="http://schemas.openxmlformats.org/officeDocument/2006/relationships/slideLayout" Target="../slideLayouts/slideLayout167.xml"/><Relationship Id="rId457" Type="http://schemas.openxmlformats.org/officeDocument/2006/relationships/slideLayout" Target="../slideLayouts/slideLayout472.xml"/><Relationship Id="rId14" Type="http://schemas.openxmlformats.org/officeDocument/2006/relationships/slideLayout" Target="../slideLayouts/slideLayout29.xml"/><Relationship Id="rId317" Type="http://schemas.openxmlformats.org/officeDocument/2006/relationships/slideLayout" Target="../slideLayouts/slideLayout332.xml"/><Relationship Id="rId524" Type="http://schemas.openxmlformats.org/officeDocument/2006/relationships/slideLayout" Target="../slideLayouts/slideLayout539.xml"/><Relationship Id="rId98" Type="http://schemas.openxmlformats.org/officeDocument/2006/relationships/slideLayout" Target="../slideLayouts/slideLayout113.xml"/><Relationship Id="rId163" Type="http://schemas.openxmlformats.org/officeDocument/2006/relationships/slideLayout" Target="../slideLayouts/slideLayout178.xml"/><Relationship Id="rId370" Type="http://schemas.openxmlformats.org/officeDocument/2006/relationships/slideLayout" Target="../slideLayouts/slideLayout385.xml"/><Relationship Id="rId230" Type="http://schemas.openxmlformats.org/officeDocument/2006/relationships/slideLayout" Target="../slideLayouts/slideLayout245.xml"/><Relationship Id="rId468" Type="http://schemas.openxmlformats.org/officeDocument/2006/relationships/slideLayout" Target="../slideLayouts/slideLayout483.xml"/><Relationship Id="rId25" Type="http://schemas.openxmlformats.org/officeDocument/2006/relationships/slideLayout" Target="../slideLayouts/slideLayout40.xml"/><Relationship Id="rId328" Type="http://schemas.openxmlformats.org/officeDocument/2006/relationships/slideLayout" Target="../slideLayouts/slideLayout343.xml"/><Relationship Id="rId535" Type="http://schemas.openxmlformats.org/officeDocument/2006/relationships/slideLayout" Target="../slideLayouts/slideLayout550.xml"/><Relationship Id="rId174" Type="http://schemas.openxmlformats.org/officeDocument/2006/relationships/slideLayout" Target="../slideLayouts/slideLayout189.xml"/><Relationship Id="rId381" Type="http://schemas.openxmlformats.org/officeDocument/2006/relationships/slideLayout" Target="../slideLayouts/slideLayout396.xml"/><Relationship Id="rId602" Type="http://schemas.openxmlformats.org/officeDocument/2006/relationships/slideLayout" Target="../slideLayouts/slideLayout617.xml"/><Relationship Id="rId241" Type="http://schemas.openxmlformats.org/officeDocument/2006/relationships/slideLayout" Target="../slideLayouts/slideLayout256.xml"/><Relationship Id="rId479" Type="http://schemas.openxmlformats.org/officeDocument/2006/relationships/slideLayout" Target="../slideLayouts/slideLayout494.xml"/><Relationship Id="rId36" Type="http://schemas.openxmlformats.org/officeDocument/2006/relationships/slideLayout" Target="../slideLayouts/slideLayout51.xml"/><Relationship Id="rId339" Type="http://schemas.openxmlformats.org/officeDocument/2006/relationships/slideLayout" Target="../slideLayouts/slideLayout354.xml"/><Relationship Id="rId546" Type="http://schemas.openxmlformats.org/officeDocument/2006/relationships/slideLayout" Target="../slideLayouts/slideLayout561.xml"/><Relationship Id="rId101" Type="http://schemas.openxmlformats.org/officeDocument/2006/relationships/slideLayout" Target="../slideLayouts/slideLayout116.xml"/><Relationship Id="rId185" Type="http://schemas.openxmlformats.org/officeDocument/2006/relationships/slideLayout" Target="../slideLayouts/slideLayout200.xml"/><Relationship Id="rId406" Type="http://schemas.openxmlformats.org/officeDocument/2006/relationships/slideLayout" Target="../slideLayouts/slideLayout421.xml"/><Relationship Id="rId392" Type="http://schemas.openxmlformats.org/officeDocument/2006/relationships/slideLayout" Target="../slideLayouts/slideLayout407.xml"/><Relationship Id="rId613" Type="http://schemas.openxmlformats.org/officeDocument/2006/relationships/slideLayout" Target="../slideLayouts/slideLayout628.xml"/><Relationship Id="rId252" Type="http://schemas.openxmlformats.org/officeDocument/2006/relationships/slideLayout" Target="../slideLayouts/slideLayout267.xml"/><Relationship Id="rId47" Type="http://schemas.openxmlformats.org/officeDocument/2006/relationships/slideLayout" Target="../slideLayouts/slideLayout62.xml"/><Relationship Id="rId89" Type="http://schemas.openxmlformats.org/officeDocument/2006/relationships/slideLayout" Target="../slideLayouts/slideLayout104.xml"/><Relationship Id="rId112" Type="http://schemas.openxmlformats.org/officeDocument/2006/relationships/slideLayout" Target="../slideLayouts/slideLayout127.xml"/><Relationship Id="rId154" Type="http://schemas.openxmlformats.org/officeDocument/2006/relationships/slideLayout" Target="../slideLayouts/slideLayout169.xml"/><Relationship Id="rId361" Type="http://schemas.openxmlformats.org/officeDocument/2006/relationships/slideLayout" Target="../slideLayouts/slideLayout376.xml"/><Relationship Id="rId557" Type="http://schemas.openxmlformats.org/officeDocument/2006/relationships/slideLayout" Target="../slideLayouts/slideLayout572.xml"/><Relationship Id="rId599" Type="http://schemas.openxmlformats.org/officeDocument/2006/relationships/slideLayout" Target="../slideLayouts/slideLayout614.xml"/><Relationship Id="rId196" Type="http://schemas.openxmlformats.org/officeDocument/2006/relationships/slideLayout" Target="../slideLayouts/slideLayout211.xml"/><Relationship Id="rId417" Type="http://schemas.openxmlformats.org/officeDocument/2006/relationships/slideLayout" Target="../slideLayouts/slideLayout432.xml"/><Relationship Id="rId459" Type="http://schemas.openxmlformats.org/officeDocument/2006/relationships/slideLayout" Target="../slideLayouts/slideLayout474.xml"/><Relationship Id="rId624" Type="http://schemas.openxmlformats.org/officeDocument/2006/relationships/slideLayout" Target="../slideLayouts/slideLayout639.xml"/><Relationship Id="rId16" Type="http://schemas.openxmlformats.org/officeDocument/2006/relationships/slideLayout" Target="../slideLayouts/slideLayout31.xml"/><Relationship Id="rId221" Type="http://schemas.openxmlformats.org/officeDocument/2006/relationships/slideLayout" Target="../slideLayouts/slideLayout236.xml"/><Relationship Id="rId263" Type="http://schemas.openxmlformats.org/officeDocument/2006/relationships/slideLayout" Target="../slideLayouts/slideLayout278.xml"/><Relationship Id="rId319" Type="http://schemas.openxmlformats.org/officeDocument/2006/relationships/slideLayout" Target="../slideLayouts/slideLayout334.xml"/><Relationship Id="rId470" Type="http://schemas.openxmlformats.org/officeDocument/2006/relationships/slideLayout" Target="../slideLayouts/slideLayout485.xml"/><Relationship Id="rId526" Type="http://schemas.openxmlformats.org/officeDocument/2006/relationships/slideLayout" Target="../slideLayouts/slideLayout541.xml"/><Relationship Id="rId58" Type="http://schemas.openxmlformats.org/officeDocument/2006/relationships/slideLayout" Target="../slideLayouts/slideLayout73.xml"/><Relationship Id="rId123" Type="http://schemas.openxmlformats.org/officeDocument/2006/relationships/slideLayout" Target="../slideLayouts/slideLayout138.xml"/><Relationship Id="rId330" Type="http://schemas.openxmlformats.org/officeDocument/2006/relationships/slideLayout" Target="../slideLayouts/slideLayout345.xml"/><Relationship Id="rId568" Type="http://schemas.openxmlformats.org/officeDocument/2006/relationships/slideLayout" Target="../slideLayouts/slideLayout583.xml"/><Relationship Id="rId165" Type="http://schemas.openxmlformats.org/officeDocument/2006/relationships/slideLayout" Target="../slideLayouts/slideLayout180.xml"/><Relationship Id="rId372" Type="http://schemas.openxmlformats.org/officeDocument/2006/relationships/slideLayout" Target="../slideLayouts/slideLayout387.xml"/><Relationship Id="rId428" Type="http://schemas.openxmlformats.org/officeDocument/2006/relationships/slideLayout" Target="../slideLayouts/slideLayout443.xml"/><Relationship Id="rId635" Type="http://schemas.openxmlformats.org/officeDocument/2006/relationships/slideLayout" Target="../slideLayouts/slideLayout650.xml"/><Relationship Id="rId232" Type="http://schemas.openxmlformats.org/officeDocument/2006/relationships/slideLayout" Target="../slideLayouts/slideLayout247.xml"/><Relationship Id="rId274" Type="http://schemas.openxmlformats.org/officeDocument/2006/relationships/slideLayout" Target="../slideLayouts/slideLayout289.xml"/><Relationship Id="rId481" Type="http://schemas.openxmlformats.org/officeDocument/2006/relationships/slideLayout" Target="../slideLayouts/slideLayout496.xml"/><Relationship Id="rId27" Type="http://schemas.openxmlformats.org/officeDocument/2006/relationships/slideLayout" Target="../slideLayouts/slideLayout42.xml"/><Relationship Id="rId69" Type="http://schemas.openxmlformats.org/officeDocument/2006/relationships/slideLayout" Target="../slideLayouts/slideLayout84.xml"/><Relationship Id="rId134" Type="http://schemas.openxmlformats.org/officeDocument/2006/relationships/slideLayout" Target="../slideLayouts/slideLayout149.xml"/><Relationship Id="rId537" Type="http://schemas.openxmlformats.org/officeDocument/2006/relationships/slideLayout" Target="../slideLayouts/slideLayout552.xml"/><Relationship Id="rId579" Type="http://schemas.openxmlformats.org/officeDocument/2006/relationships/slideLayout" Target="../slideLayouts/slideLayout594.xml"/><Relationship Id="rId80" Type="http://schemas.openxmlformats.org/officeDocument/2006/relationships/slideLayout" Target="../slideLayouts/slideLayout95.xml"/><Relationship Id="rId176" Type="http://schemas.openxmlformats.org/officeDocument/2006/relationships/slideLayout" Target="../slideLayouts/slideLayout191.xml"/><Relationship Id="rId341" Type="http://schemas.openxmlformats.org/officeDocument/2006/relationships/slideLayout" Target="../slideLayouts/slideLayout356.xml"/><Relationship Id="rId383" Type="http://schemas.openxmlformats.org/officeDocument/2006/relationships/slideLayout" Target="../slideLayouts/slideLayout398.xml"/><Relationship Id="rId439" Type="http://schemas.openxmlformats.org/officeDocument/2006/relationships/slideLayout" Target="../slideLayouts/slideLayout454.xml"/><Relationship Id="rId590" Type="http://schemas.openxmlformats.org/officeDocument/2006/relationships/slideLayout" Target="../slideLayouts/slideLayout605.xml"/><Relationship Id="rId604" Type="http://schemas.openxmlformats.org/officeDocument/2006/relationships/slideLayout" Target="../slideLayouts/slideLayout619.xml"/><Relationship Id="rId201" Type="http://schemas.openxmlformats.org/officeDocument/2006/relationships/slideLayout" Target="../slideLayouts/slideLayout216.xml"/><Relationship Id="rId243" Type="http://schemas.openxmlformats.org/officeDocument/2006/relationships/slideLayout" Target="../slideLayouts/slideLayout258.xml"/><Relationship Id="rId285" Type="http://schemas.openxmlformats.org/officeDocument/2006/relationships/slideLayout" Target="../slideLayouts/slideLayout300.xml"/><Relationship Id="rId450" Type="http://schemas.openxmlformats.org/officeDocument/2006/relationships/slideLayout" Target="../slideLayouts/slideLayout465.xml"/><Relationship Id="rId506" Type="http://schemas.openxmlformats.org/officeDocument/2006/relationships/slideLayout" Target="../slideLayouts/slideLayout521.xml"/><Relationship Id="rId38" Type="http://schemas.openxmlformats.org/officeDocument/2006/relationships/slideLayout" Target="../slideLayouts/slideLayout53.xml"/><Relationship Id="rId103" Type="http://schemas.openxmlformats.org/officeDocument/2006/relationships/slideLayout" Target="../slideLayouts/slideLayout118.xml"/><Relationship Id="rId310" Type="http://schemas.openxmlformats.org/officeDocument/2006/relationships/slideLayout" Target="../slideLayouts/slideLayout325.xml"/><Relationship Id="rId492" Type="http://schemas.openxmlformats.org/officeDocument/2006/relationships/slideLayout" Target="../slideLayouts/slideLayout507.xml"/><Relationship Id="rId548" Type="http://schemas.openxmlformats.org/officeDocument/2006/relationships/slideLayout" Target="../slideLayouts/slideLayout563.xml"/><Relationship Id="rId91" Type="http://schemas.openxmlformats.org/officeDocument/2006/relationships/slideLayout" Target="../slideLayouts/slideLayout106.xml"/><Relationship Id="rId145" Type="http://schemas.openxmlformats.org/officeDocument/2006/relationships/slideLayout" Target="../slideLayouts/slideLayout160.xml"/><Relationship Id="rId187" Type="http://schemas.openxmlformats.org/officeDocument/2006/relationships/slideLayout" Target="../slideLayouts/slideLayout202.xml"/><Relationship Id="rId352" Type="http://schemas.openxmlformats.org/officeDocument/2006/relationships/slideLayout" Target="../slideLayouts/slideLayout367.xml"/><Relationship Id="rId394" Type="http://schemas.openxmlformats.org/officeDocument/2006/relationships/slideLayout" Target="../slideLayouts/slideLayout409.xml"/><Relationship Id="rId408" Type="http://schemas.openxmlformats.org/officeDocument/2006/relationships/slideLayout" Target="../slideLayouts/slideLayout423.xml"/><Relationship Id="rId615" Type="http://schemas.openxmlformats.org/officeDocument/2006/relationships/slideLayout" Target="../slideLayouts/slideLayout630.xml"/><Relationship Id="rId212" Type="http://schemas.openxmlformats.org/officeDocument/2006/relationships/slideLayout" Target="../slideLayouts/slideLayout227.xml"/><Relationship Id="rId254" Type="http://schemas.openxmlformats.org/officeDocument/2006/relationships/slideLayout" Target="../slideLayouts/slideLayout269.xml"/><Relationship Id="rId49" Type="http://schemas.openxmlformats.org/officeDocument/2006/relationships/slideLayout" Target="../slideLayouts/slideLayout64.xml"/><Relationship Id="rId114" Type="http://schemas.openxmlformats.org/officeDocument/2006/relationships/slideLayout" Target="../slideLayouts/slideLayout129.xml"/><Relationship Id="rId296" Type="http://schemas.openxmlformats.org/officeDocument/2006/relationships/slideLayout" Target="../slideLayouts/slideLayout311.xml"/><Relationship Id="rId461" Type="http://schemas.openxmlformats.org/officeDocument/2006/relationships/slideLayout" Target="../slideLayouts/slideLayout476.xml"/><Relationship Id="rId517" Type="http://schemas.openxmlformats.org/officeDocument/2006/relationships/slideLayout" Target="../slideLayouts/slideLayout532.xml"/><Relationship Id="rId559" Type="http://schemas.openxmlformats.org/officeDocument/2006/relationships/slideLayout" Target="../slideLayouts/slideLayout574.xml"/><Relationship Id="rId60" Type="http://schemas.openxmlformats.org/officeDocument/2006/relationships/slideLayout" Target="../slideLayouts/slideLayout75.xml"/><Relationship Id="rId156" Type="http://schemas.openxmlformats.org/officeDocument/2006/relationships/slideLayout" Target="../slideLayouts/slideLayout171.xml"/><Relationship Id="rId198" Type="http://schemas.openxmlformats.org/officeDocument/2006/relationships/slideLayout" Target="../slideLayouts/slideLayout213.xml"/><Relationship Id="rId321" Type="http://schemas.openxmlformats.org/officeDocument/2006/relationships/slideLayout" Target="../slideLayouts/slideLayout336.xml"/><Relationship Id="rId363" Type="http://schemas.openxmlformats.org/officeDocument/2006/relationships/slideLayout" Target="../slideLayouts/slideLayout378.xml"/><Relationship Id="rId419" Type="http://schemas.openxmlformats.org/officeDocument/2006/relationships/slideLayout" Target="../slideLayouts/slideLayout434.xml"/><Relationship Id="rId570" Type="http://schemas.openxmlformats.org/officeDocument/2006/relationships/slideLayout" Target="../slideLayouts/slideLayout585.xml"/><Relationship Id="rId626" Type="http://schemas.openxmlformats.org/officeDocument/2006/relationships/slideLayout" Target="../slideLayouts/slideLayout641.xml"/><Relationship Id="rId223" Type="http://schemas.openxmlformats.org/officeDocument/2006/relationships/slideLayout" Target="../slideLayouts/slideLayout238.xml"/><Relationship Id="rId430" Type="http://schemas.openxmlformats.org/officeDocument/2006/relationships/slideLayout" Target="../slideLayouts/slideLayout445.xml"/><Relationship Id="rId18" Type="http://schemas.openxmlformats.org/officeDocument/2006/relationships/slideLayout" Target="../slideLayouts/slideLayout33.xml"/><Relationship Id="rId265" Type="http://schemas.openxmlformats.org/officeDocument/2006/relationships/slideLayout" Target="../slideLayouts/slideLayout280.xml"/><Relationship Id="rId472" Type="http://schemas.openxmlformats.org/officeDocument/2006/relationships/slideLayout" Target="../slideLayouts/slideLayout487.xml"/><Relationship Id="rId528" Type="http://schemas.openxmlformats.org/officeDocument/2006/relationships/slideLayout" Target="../slideLayouts/slideLayout543.xml"/><Relationship Id="rId125" Type="http://schemas.openxmlformats.org/officeDocument/2006/relationships/slideLayout" Target="../slideLayouts/slideLayout140.xml"/><Relationship Id="rId167" Type="http://schemas.openxmlformats.org/officeDocument/2006/relationships/slideLayout" Target="../slideLayouts/slideLayout182.xml"/><Relationship Id="rId332" Type="http://schemas.openxmlformats.org/officeDocument/2006/relationships/slideLayout" Target="../slideLayouts/slideLayout347.xml"/><Relationship Id="rId374" Type="http://schemas.openxmlformats.org/officeDocument/2006/relationships/slideLayout" Target="../slideLayouts/slideLayout389.xml"/><Relationship Id="rId581" Type="http://schemas.openxmlformats.org/officeDocument/2006/relationships/slideLayout" Target="../slideLayouts/slideLayout596.xml"/><Relationship Id="rId71" Type="http://schemas.openxmlformats.org/officeDocument/2006/relationships/slideLayout" Target="../slideLayouts/slideLayout86.xml"/><Relationship Id="rId234" Type="http://schemas.openxmlformats.org/officeDocument/2006/relationships/slideLayout" Target="../slideLayouts/slideLayout249.xml"/><Relationship Id="rId637" Type="http://schemas.openxmlformats.org/officeDocument/2006/relationships/slideLayout" Target="../slideLayouts/slideLayout652.xml"/><Relationship Id="rId2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44.xml"/><Relationship Id="rId276" Type="http://schemas.openxmlformats.org/officeDocument/2006/relationships/slideLayout" Target="../slideLayouts/slideLayout291.xml"/><Relationship Id="rId441" Type="http://schemas.openxmlformats.org/officeDocument/2006/relationships/slideLayout" Target="../slideLayouts/slideLayout456.xml"/><Relationship Id="rId483" Type="http://schemas.openxmlformats.org/officeDocument/2006/relationships/slideLayout" Target="../slideLayouts/slideLayout498.xml"/><Relationship Id="rId539" Type="http://schemas.openxmlformats.org/officeDocument/2006/relationships/slideLayout" Target="../slideLayouts/slideLayout554.xml"/><Relationship Id="rId40" Type="http://schemas.openxmlformats.org/officeDocument/2006/relationships/slideLayout" Target="../slideLayouts/slideLayout55.xml"/><Relationship Id="rId136" Type="http://schemas.openxmlformats.org/officeDocument/2006/relationships/slideLayout" Target="../slideLayouts/slideLayout151.xml"/><Relationship Id="rId178" Type="http://schemas.openxmlformats.org/officeDocument/2006/relationships/slideLayout" Target="../slideLayouts/slideLayout193.xml"/><Relationship Id="rId301" Type="http://schemas.openxmlformats.org/officeDocument/2006/relationships/slideLayout" Target="../slideLayouts/slideLayout316.xml"/><Relationship Id="rId343" Type="http://schemas.openxmlformats.org/officeDocument/2006/relationships/slideLayout" Target="../slideLayouts/slideLayout358.xml"/><Relationship Id="rId550" Type="http://schemas.openxmlformats.org/officeDocument/2006/relationships/slideLayout" Target="../slideLayouts/slideLayout565.xml"/><Relationship Id="rId82" Type="http://schemas.openxmlformats.org/officeDocument/2006/relationships/slideLayout" Target="../slideLayouts/slideLayout97.xml"/><Relationship Id="rId203" Type="http://schemas.openxmlformats.org/officeDocument/2006/relationships/slideLayout" Target="../slideLayouts/slideLayout218.xml"/><Relationship Id="rId385" Type="http://schemas.openxmlformats.org/officeDocument/2006/relationships/slideLayout" Target="../slideLayouts/slideLayout400.xml"/><Relationship Id="rId592" Type="http://schemas.openxmlformats.org/officeDocument/2006/relationships/slideLayout" Target="../slideLayouts/slideLayout607.xml"/><Relationship Id="rId606" Type="http://schemas.openxmlformats.org/officeDocument/2006/relationships/slideLayout" Target="../slideLayouts/slideLayout621.xml"/><Relationship Id="rId245" Type="http://schemas.openxmlformats.org/officeDocument/2006/relationships/slideLayout" Target="../slideLayouts/slideLayout260.xml"/><Relationship Id="rId287" Type="http://schemas.openxmlformats.org/officeDocument/2006/relationships/slideLayout" Target="../slideLayouts/slideLayout302.xml"/><Relationship Id="rId410" Type="http://schemas.openxmlformats.org/officeDocument/2006/relationships/slideLayout" Target="../slideLayouts/slideLayout425.xml"/><Relationship Id="rId452" Type="http://schemas.openxmlformats.org/officeDocument/2006/relationships/slideLayout" Target="../slideLayouts/slideLayout467.xml"/><Relationship Id="rId494" Type="http://schemas.openxmlformats.org/officeDocument/2006/relationships/slideLayout" Target="../slideLayouts/slideLayout509.xml"/><Relationship Id="rId508" Type="http://schemas.openxmlformats.org/officeDocument/2006/relationships/slideLayout" Target="../slideLayouts/slideLayout523.xml"/><Relationship Id="rId105" Type="http://schemas.openxmlformats.org/officeDocument/2006/relationships/slideLayout" Target="../slideLayouts/slideLayout120.xml"/><Relationship Id="rId147" Type="http://schemas.openxmlformats.org/officeDocument/2006/relationships/slideLayout" Target="../slideLayouts/slideLayout162.xml"/><Relationship Id="rId312" Type="http://schemas.openxmlformats.org/officeDocument/2006/relationships/slideLayout" Target="../slideLayouts/slideLayout327.xml"/><Relationship Id="rId354" Type="http://schemas.openxmlformats.org/officeDocument/2006/relationships/slideLayout" Target="../slideLayouts/slideLayout369.xml"/><Relationship Id="rId51" Type="http://schemas.openxmlformats.org/officeDocument/2006/relationships/slideLayout" Target="../slideLayouts/slideLayout66.xml"/><Relationship Id="rId93" Type="http://schemas.openxmlformats.org/officeDocument/2006/relationships/slideLayout" Target="../slideLayouts/slideLayout108.xml"/><Relationship Id="rId189" Type="http://schemas.openxmlformats.org/officeDocument/2006/relationships/slideLayout" Target="../slideLayouts/slideLayout204.xml"/><Relationship Id="rId396" Type="http://schemas.openxmlformats.org/officeDocument/2006/relationships/slideLayout" Target="../slideLayouts/slideLayout411.xml"/><Relationship Id="rId561" Type="http://schemas.openxmlformats.org/officeDocument/2006/relationships/slideLayout" Target="../slideLayouts/slideLayout576.xml"/><Relationship Id="rId617" Type="http://schemas.openxmlformats.org/officeDocument/2006/relationships/slideLayout" Target="../slideLayouts/slideLayout632.xml"/><Relationship Id="rId214" Type="http://schemas.openxmlformats.org/officeDocument/2006/relationships/slideLayout" Target="../slideLayouts/slideLayout229.xml"/><Relationship Id="rId256" Type="http://schemas.openxmlformats.org/officeDocument/2006/relationships/slideLayout" Target="../slideLayouts/slideLayout271.xml"/><Relationship Id="rId298" Type="http://schemas.openxmlformats.org/officeDocument/2006/relationships/slideLayout" Target="../slideLayouts/slideLayout313.xml"/><Relationship Id="rId421" Type="http://schemas.openxmlformats.org/officeDocument/2006/relationships/slideLayout" Target="../slideLayouts/slideLayout436.xml"/><Relationship Id="rId463" Type="http://schemas.openxmlformats.org/officeDocument/2006/relationships/slideLayout" Target="../slideLayouts/slideLayout478.xml"/><Relationship Id="rId519" Type="http://schemas.openxmlformats.org/officeDocument/2006/relationships/slideLayout" Target="../slideLayouts/slideLayout534.xml"/><Relationship Id="rId116" Type="http://schemas.openxmlformats.org/officeDocument/2006/relationships/slideLayout" Target="../slideLayouts/slideLayout131.xml"/><Relationship Id="rId158" Type="http://schemas.openxmlformats.org/officeDocument/2006/relationships/slideLayout" Target="../slideLayouts/slideLayout173.xml"/><Relationship Id="rId323" Type="http://schemas.openxmlformats.org/officeDocument/2006/relationships/slideLayout" Target="../slideLayouts/slideLayout338.xml"/><Relationship Id="rId530" Type="http://schemas.openxmlformats.org/officeDocument/2006/relationships/slideLayout" Target="../slideLayouts/slideLayout545.xml"/><Relationship Id="rId20" Type="http://schemas.openxmlformats.org/officeDocument/2006/relationships/slideLayout" Target="../slideLayouts/slideLayout35.xml"/><Relationship Id="rId62" Type="http://schemas.openxmlformats.org/officeDocument/2006/relationships/slideLayout" Target="../slideLayouts/slideLayout77.xml"/><Relationship Id="rId365" Type="http://schemas.openxmlformats.org/officeDocument/2006/relationships/slideLayout" Target="../slideLayouts/slideLayout380.xml"/><Relationship Id="rId572" Type="http://schemas.openxmlformats.org/officeDocument/2006/relationships/slideLayout" Target="../slideLayouts/slideLayout587.xml"/><Relationship Id="rId628" Type="http://schemas.openxmlformats.org/officeDocument/2006/relationships/slideLayout" Target="../slideLayouts/slideLayout643.xml"/><Relationship Id="rId225" Type="http://schemas.openxmlformats.org/officeDocument/2006/relationships/slideLayout" Target="../slideLayouts/slideLayout240.xml"/><Relationship Id="rId267" Type="http://schemas.openxmlformats.org/officeDocument/2006/relationships/slideLayout" Target="../slideLayouts/slideLayout282.xml"/><Relationship Id="rId432" Type="http://schemas.openxmlformats.org/officeDocument/2006/relationships/slideLayout" Target="../slideLayouts/slideLayout447.xml"/><Relationship Id="rId474" Type="http://schemas.openxmlformats.org/officeDocument/2006/relationships/slideLayout" Target="../slideLayouts/slideLayout489.xml"/><Relationship Id="rId127" Type="http://schemas.openxmlformats.org/officeDocument/2006/relationships/slideLayout" Target="../slideLayouts/slideLayout142.xml"/><Relationship Id="rId31" Type="http://schemas.openxmlformats.org/officeDocument/2006/relationships/slideLayout" Target="../slideLayouts/slideLayout46.xml"/><Relationship Id="rId73" Type="http://schemas.openxmlformats.org/officeDocument/2006/relationships/slideLayout" Target="../slideLayouts/slideLayout88.xml"/><Relationship Id="rId169" Type="http://schemas.openxmlformats.org/officeDocument/2006/relationships/slideLayout" Target="../slideLayouts/slideLayout184.xml"/><Relationship Id="rId334" Type="http://schemas.openxmlformats.org/officeDocument/2006/relationships/slideLayout" Target="../slideLayouts/slideLayout349.xml"/><Relationship Id="rId376" Type="http://schemas.openxmlformats.org/officeDocument/2006/relationships/slideLayout" Target="../slideLayouts/slideLayout391.xml"/><Relationship Id="rId541" Type="http://schemas.openxmlformats.org/officeDocument/2006/relationships/slideLayout" Target="../slideLayouts/slideLayout556.xml"/><Relationship Id="rId583" Type="http://schemas.openxmlformats.org/officeDocument/2006/relationships/slideLayout" Target="../slideLayouts/slideLayout598.xml"/><Relationship Id="rId639" Type="http://schemas.openxmlformats.org/officeDocument/2006/relationships/slideLayout" Target="../slideLayouts/slideLayout654.xml"/><Relationship Id="rId4" Type="http://schemas.openxmlformats.org/officeDocument/2006/relationships/slideLayout" Target="../slideLayouts/slideLayout19.xml"/><Relationship Id="rId180" Type="http://schemas.openxmlformats.org/officeDocument/2006/relationships/slideLayout" Target="../slideLayouts/slideLayout195.xml"/><Relationship Id="rId236" Type="http://schemas.openxmlformats.org/officeDocument/2006/relationships/slideLayout" Target="../slideLayouts/slideLayout251.xml"/><Relationship Id="rId278" Type="http://schemas.openxmlformats.org/officeDocument/2006/relationships/slideLayout" Target="../slideLayouts/slideLayout293.xml"/><Relationship Id="rId401" Type="http://schemas.openxmlformats.org/officeDocument/2006/relationships/slideLayout" Target="../slideLayouts/slideLayout416.xml"/><Relationship Id="rId443" Type="http://schemas.openxmlformats.org/officeDocument/2006/relationships/slideLayout" Target="../slideLayouts/slideLayout458.xml"/><Relationship Id="rId303" Type="http://schemas.openxmlformats.org/officeDocument/2006/relationships/slideLayout" Target="../slideLayouts/slideLayout318.xml"/><Relationship Id="rId485" Type="http://schemas.openxmlformats.org/officeDocument/2006/relationships/slideLayout" Target="../slideLayouts/slideLayout500.xml"/><Relationship Id="rId42" Type="http://schemas.openxmlformats.org/officeDocument/2006/relationships/slideLayout" Target="../slideLayouts/slideLayout57.xml"/><Relationship Id="rId84" Type="http://schemas.openxmlformats.org/officeDocument/2006/relationships/slideLayout" Target="../slideLayouts/slideLayout99.xml"/><Relationship Id="rId138" Type="http://schemas.openxmlformats.org/officeDocument/2006/relationships/slideLayout" Target="../slideLayouts/slideLayout153.xml"/><Relationship Id="rId345" Type="http://schemas.openxmlformats.org/officeDocument/2006/relationships/slideLayout" Target="../slideLayouts/slideLayout360.xml"/><Relationship Id="rId387" Type="http://schemas.openxmlformats.org/officeDocument/2006/relationships/slideLayout" Target="../slideLayouts/slideLayout402.xml"/><Relationship Id="rId510" Type="http://schemas.openxmlformats.org/officeDocument/2006/relationships/slideLayout" Target="../slideLayouts/slideLayout525.xml"/><Relationship Id="rId552" Type="http://schemas.openxmlformats.org/officeDocument/2006/relationships/slideLayout" Target="../slideLayouts/slideLayout567.xml"/><Relationship Id="rId594" Type="http://schemas.openxmlformats.org/officeDocument/2006/relationships/slideLayout" Target="../slideLayouts/slideLayout609.xml"/><Relationship Id="rId608" Type="http://schemas.openxmlformats.org/officeDocument/2006/relationships/slideLayout" Target="../slideLayouts/slideLayout623.xml"/><Relationship Id="rId191" Type="http://schemas.openxmlformats.org/officeDocument/2006/relationships/slideLayout" Target="../slideLayouts/slideLayout206.xml"/><Relationship Id="rId205" Type="http://schemas.openxmlformats.org/officeDocument/2006/relationships/slideLayout" Target="../slideLayouts/slideLayout220.xml"/><Relationship Id="rId247" Type="http://schemas.openxmlformats.org/officeDocument/2006/relationships/slideLayout" Target="../slideLayouts/slideLayout262.xml"/><Relationship Id="rId412" Type="http://schemas.openxmlformats.org/officeDocument/2006/relationships/slideLayout" Target="../slideLayouts/slideLayout427.xml"/><Relationship Id="rId107" Type="http://schemas.openxmlformats.org/officeDocument/2006/relationships/slideLayout" Target="../slideLayouts/slideLayout122.xml"/><Relationship Id="rId289" Type="http://schemas.openxmlformats.org/officeDocument/2006/relationships/slideLayout" Target="../slideLayouts/slideLayout304.xml"/><Relationship Id="rId454" Type="http://schemas.openxmlformats.org/officeDocument/2006/relationships/slideLayout" Target="../slideLayouts/slideLayout469.xml"/><Relationship Id="rId496" Type="http://schemas.openxmlformats.org/officeDocument/2006/relationships/slideLayout" Target="../slideLayouts/slideLayout511.xml"/><Relationship Id="rId11" Type="http://schemas.openxmlformats.org/officeDocument/2006/relationships/slideLayout" Target="../slideLayouts/slideLayout26.xml"/><Relationship Id="rId53" Type="http://schemas.openxmlformats.org/officeDocument/2006/relationships/slideLayout" Target="../slideLayouts/slideLayout68.xml"/><Relationship Id="rId149" Type="http://schemas.openxmlformats.org/officeDocument/2006/relationships/slideLayout" Target="../slideLayouts/slideLayout164.xml"/><Relationship Id="rId314" Type="http://schemas.openxmlformats.org/officeDocument/2006/relationships/slideLayout" Target="../slideLayouts/slideLayout329.xml"/><Relationship Id="rId356" Type="http://schemas.openxmlformats.org/officeDocument/2006/relationships/slideLayout" Target="../slideLayouts/slideLayout371.xml"/><Relationship Id="rId398" Type="http://schemas.openxmlformats.org/officeDocument/2006/relationships/slideLayout" Target="../slideLayouts/slideLayout413.xml"/><Relationship Id="rId521" Type="http://schemas.openxmlformats.org/officeDocument/2006/relationships/slideLayout" Target="../slideLayouts/slideLayout536.xml"/><Relationship Id="rId563" Type="http://schemas.openxmlformats.org/officeDocument/2006/relationships/slideLayout" Target="../slideLayouts/slideLayout578.xml"/><Relationship Id="rId619" Type="http://schemas.openxmlformats.org/officeDocument/2006/relationships/slideLayout" Target="../slideLayouts/slideLayout634.xml"/><Relationship Id="rId95" Type="http://schemas.openxmlformats.org/officeDocument/2006/relationships/slideLayout" Target="../slideLayouts/slideLayout110.xml"/><Relationship Id="rId160" Type="http://schemas.openxmlformats.org/officeDocument/2006/relationships/slideLayout" Target="../slideLayouts/slideLayout175.xml"/><Relationship Id="rId216" Type="http://schemas.openxmlformats.org/officeDocument/2006/relationships/slideLayout" Target="../slideLayouts/slideLayout231.xml"/><Relationship Id="rId423" Type="http://schemas.openxmlformats.org/officeDocument/2006/relationships/slideLayout" Target="../slideLayouts/slideLayout438.xml"/><Relationship Id="rId258" Type="http://schemas.openxmlformats.org/officeDocument/2006/relationships/slideLayout" Target="../slideLayouts/slideLayout273.xml"/><Relationship Id="rId465" Type="http://schemas.openxmlformats.org/officeDocument/2006/relationships/slideLayout" Target="../slideLayouts/slideLayout480.xml"/><Relationship Id="rId630" Type="http://schemas.openxmlformats.org/officeDocument/2006/relationships/slideLayout" Target="../slideLayouts/slideLayout645.xml"/><Relationship Id="rId22" Type="http://schemas.openxmlformats.org/officeDocument/2006/relationships/slideLayout" Target="../slideLayouts/slideLayout37.xml"/><Relationship Id="rId64" Type="http://schemas.openxmlformats.org/officeDocument/2006/relationships/slideLayout" Target="../slideLayouts/slideLayout79.xml"/><Relationship Id="rId118" Type="http://schemas.openxmlformats.org/officeDocument/2006/relationships/slideLayout" Target="../slideLayouts/slideLayout133.xml"/><Relationship Id="rId325" Type="http://schemas.openxmlformats.org/officeDocument/2006/relationships/slideLayout" Target="../slideLayouts/slideLayout340.xml"/><Relationship Id="rId367" Type="http://schemas.openxmlformats.org/officeDocument/2006/relationships/slideLayout" Target="../slideLayouts/slideLayout382.xml"/><Relationship Id="rId532" Type="http://schemas.openxmlformats.org/officeDocument/2006/relationships/slideLayout" Target="../slideLayouts/slideLayout547.xml"/><Relationship Id="rId574" Type="http://schemas.openxmlformats.org/officeDocument/2006/relationships/slideLayout" Target="../slideLayouts/slideLayout589.xml"/><Relationship Id="rId171" Type="http://schemas.openxmlformats.org/officeDocument/2006/relationships/slideLayout" Target="../slideLayouts/slideLayout186.xml"/><Relationship Id="rId227" Type="http://schemas.openxmlformats.org/officeDocument/2006/relationships/slideLayout" Target="../slideLayouts/slideLayout242.xml"/><Relationship Id="rId269" Type="http://schemas.openxmlformats.org/officeDocument/2006/relationships/slideLayout" Target="../slideLayouts/slideLayout284.xml"/><Relationship Id="rId434" Type="http://schemas.openxmlformats.org/officeDocument/2006/relationships/slideLayout" Target="../slideLayouts/slideLayout449.xml"/><Relationship Id="rId476" Type="http://schemas.openxmlformats.org/officeDocument/2006/relationships/slideLayout" Target="../slideLayouts/slideLayout491.xml"/><Relationship Id="rId641" Type="http://schemas.openxmlformats.org/officeDocument/2006/relationships/slideLayout" Target="../slideLayouts/slideLayout656.xml"/><Relationship Id="rId33" Type="http://schemas.openxmlformats.org/officeDocument/2006/relationships/slideLayout" Target="../slideLayouts/slideLayout48.xml"/><Relationship Id="rId129" Type="http://schemas.openxmlformats.org/officeDocument/2006/relationships/slideLayout" Target="../slideLayouts/slideLayout144.xml"/><Relationship Id="rId280" Type="http://schemas.openxmlformats.org/officeDocument/2006/relationships/slideLayout" Target="../slideLayouts/slideLayout295.xml"/><Relationship Id="rId336" Type="http://schemas.openxmlformats.org/officeDocument/2006/relationships/slideLayout" Target="../slideLayouts/slideLayout351.xml"/><Relationship Id="rId501" Type="http://schemas.openxmlformats.org/officeDocument/2006/relationships/slideLayout" Target="../slideLayouts/slideLayout516.xml"/><Relationship Id="rId543" Type="http://schemas.openxmlformats.org/officeDocument/2006/relationships/slideLayout" Target="../slideLayouts/slideLayout558.xml"/><Relationship Id="rId75" Type="http://schemas.openxmlformats.org/officeDocument/2006/relationships/slideLayout" Target="../slideLayouts/slideLayout90.xml"/><Relationship Id="rId140" Type="http://schemas.openxmlformats.org/officeDocument/2006/relationships/slideLayout" Target="../slideLayouts/slideLayout155.xml"/><Relationship Id="rId182" Type="http://schemas.openxmlformats.org/officeDocument/2006/relationships/slideLayout" Target="../slideLayouts/slideLayout197.xml"/><Relationship Id="rId378" Type="http://schemas.openxmlformats.org/officeDocument/2006/relationships/slideLayout" Target="../slideLayouts/slideLayout393.xml"/><Relationship Id="rId403" Type="http://schemas.openxmlformats.org/officeDocument/2006/relationships/slideLayout" Target="../slideLayouts/slideLayout418.xml"/><Relationship Id="rId585" Type="http://schemas.openxmlformats.org/officeDocument/2006/relationships/slideLayout" Target="../slideLayouts/slideLayout600.xml"/><Relationship Id="rId6" Type="http://schemas.openxmlformats.org/officeDocument/2006/relationships/slideLayout" Target="../slideLayouts/slideLayout21.xml"/><Relationship Id="rId238" Type="http://schemas.openxmlformats.org/officeDocument/2006/relationships/slideLayout" Target="../slideLayouts/slideLayout253.xml"/><Relationship Id="rId445" Type="http://schemas.openxmlformats.org/officeDocument/2006/relationships/slideLayout" Target="../slideLayouts/slideLayout460.xml"/><Relationship Id="rId487" Type="http://schemas.openxmlformats.org/officeDocument/2006/relationships/slideLayout" Target="../slideLayouts/slideLayout502.xml"/><Relationship Id="rId610" Type="http://schemas.openxmlformats.org/officeDocument/2006/relationships/slideLayout" Target="../slideLayouts/slideLayout625.xml"/><Relationship Id="rId291" Type="http://schemas.openxmlformats.org/officeDocument/2006/relationships/slideLayout" Target="../slideLayouts/slideLayout306.xml"/><Relationship Id="rId305" Type="http://schemas.openxmlformats.org/officeDocument/2006/relationships/slideLayout" Target="../slideLayouts/slideLayout320.xml"/><Relationship Id="rId347" Type="http://schemas.openxmlformats.org/officeDocument/2006/relationships/slideLayout" Target="../slideLayouts/slideLayout362.xml"/><Relationship Id="rId512" Type="http://schemas.openxmlformats.org/officeDocument/2006/relationships/slideLayout" Target="../slideLayouts/slideLayout527.xml"/><Relationship Id="rId44" Type="http://schemas.openxmlformats.org/officeDocument/2006/relationships/slideLayout" Target="../slideLayouts/slideLayout59.xml"/><Relationship Id="rId86" Type="http://schemas.openxmlformats.org/officeDocument/2006/relationships/slideLayout" Target="../slideLayouts/slideLayout101.xml"/><Relationship Id="rId151" Type="http://schemas.openxmlformats.org/officeDocument/2006/relationships/slideLayout" Target="../slideLayouts/slideLayout166.xml"/><Relationship Id="rId389" Type="http://schemas.openxmlformats.org/officeDocument/2006/relationships/slideLayout" Target="../slideLayouts/slideLayout404.xml"/><Relationship Id="rId554" Type="http://schemas.openxmlformats.org/officeDocument/2006/relationships/slideLayout" Target="../slideLayouts/slideLayout569.xml"/><Relationship Id="rId596" Type="http://schemas.openxmlformats.org/officeDocument/2006/relationships/slideLayout" Target="../slideLayouts/slideLayout611.xml"/><Relationship Id="rId193" Type="http://schemas.openxmlformats.org/officeDocument/2006/relationships/slideLayout" Target="../slideLayouts/slideLayout208.xml"/><Relationship Id="rId207" Type="http://schemas.openxmlformats.org/officeDocument/2006/relationships/slideLayout" Target="../slideLayouts/slideLayout222.xml"/><Relationship Id="rId249" Type="http://schemas.openxmlformats.org/officeDocument/2006/relationships/slideLayout" Target="../slideLayouts/slideLayout264.xml"/><Relationship Id="rId414" Type="http://schemas.openxmlformats.org/officeDocument/2006/relationships/slideLayout" Target="../slideLayouts/slideLayout429.xml"/><Relationship Id="rId456" Type="http://schemas.openxmlformats.org/officeDocument/2006/relationships/slideLayout" Target="../slideLayouts/slideLayout471.xml"/><Relationship Id="rId498" Type="http://schemas.openxmlformats.org/officeDocument/2006/relationships/slideLayout" Target="../slideLayouts/slideLayout513.xml"/><Relationship Id="rId621" Type="http://schemas.openxmlformats.org/officeDocument/2006/relationships/slideLayout" Target="../slideLayouts/slideLayout636.xml"/><Relationship Id="rId13" Type="http://schemas.openxmlformats.org/officeDocument/2006/relationships/slideLayout" Target="../slideLayouts/slideLayout28.xml"/><Relationship Id="rId109" Type="http://schemas.openxmlformats.org/officeDocument/2006/relationships/slideLayout" Target="../slideLayouts/slideLayout124.xml"/><Relationship Id="rId260" Type="http://schemas.openxmlformats.org/officeDocument/2006/relationships/slideLayout" Target="../slideLayouts/slideLayout275.xml"/><Relationship Id="rId316" Type="http://schemas.openxmlformats.org/officeDocument/2006/relationships/slideLayout" Target="../slideLayouts/slideLayout331.xml"/><Relationship Id="rId523" Type="http://schemas.openxmlformats.org/officeDocument/2006/relationships/slideLayout" Target="../slideLayouts/slideLayout538.xml"/><Relationship Id="rId55" Type="http://schemas.openxmlformats.org/officeDocument/2006/relationships/slideLayout" Target="../slideLayouts/slideLayout70.xml"/><Relationship Id="rId97" Type="http://schemas.openxmlformats.org/officeDocument/2006/relationships/slideLayout" Target="../slideLayouts/slideLayout112.xml"/><Relationship Id="rId120" Type="http://schemas.openxmlformats.org/officeDocument/2006/relationships/slideLayout" Target="../slideLayouts/slideLayout135.xml"/><Relationship Id="rId358" Type="http://schemas.openxmlformats.org/officeDocument/2006/relationships/slideLayout" Target="../slideLayouts/slideLayout373.xml"/><Relationship Id="rId565" Type="http://schemas.openxmlformats.org/officeDocument/2006/relationships/slideLayout" Target="../slideLayouts/slideLayout580.xml"/><Relationship Id="rId162" Type="http://schemas.openxmlformats.org/officeDocument/2006/relationships/slideLayout" Target="../slideLayouts/slideLayout177.xml"/><Relationship Id="rId218" Type="http://schemas.openxmlformats.org/officeDocument/2006/relationships/slideLayout" Target="../slideLayouts/slideLayout233.xml"/><Relationship Id="rId425" Type="http://schemas.openxmlformats.org/officeDocument/2006/relationships/slideLayout" Target="../slideLayouts/slideLayout440.xml"/><Relationship Id="rId467" Type="http://schemas.openxmlformats.org/officeDocument/2006/relationships/slideLayout" Target="../slideLayouts/slideLayout482.xml"/><Relationship Id="rId632" Type="http://schemas.openxmlformats.org/officeDocument/2006/relationships/slideLayout" Target="../slideLayouts/slideLayout647.xml"/><Relationship Id="rId271" Type="http://schemas.openxmlformats.org/officeDocument/2006/relationships/slideLayout" Target="../slideLayouts/slideLayout286.xml"/><Relationship Id="rId24" Type="http://schemas.openxmlformats.org/officeDocument/2006/relationships/slideLayout" Target="../slideLayouts/slideLayout39.xml"/><Relationship Id="rId66" Type="http://schemas.openxmlformats.org/officeDocument/2006/relationships/slideLayout" Target="../slideLayouts/slideLayout81.xml"/><Relationship Id="rId131" Type="http://schemas.openxmlformats.org/officeDocument/2006/relationships/slideLayout" Target="../slideLayouts/slideLayout146.xml"/><Relationship Id="rId327" Type="http://schemas.openxmlformats.org/officeDocument/2006/relationships/slideLayout" Target="../slideLayouts/slideLayout342.xml"/><Relationship Id="rId369" Type="http://schemas.openxmlformats.org/officeDocument/2006/relationships/slideLayout" Target="../slideLayouts/slideLayout384.xml"/><Relationship Id="rId534" Type="http://schemas.openxmlformats.org/officeDocument/2006/relationships/slideLayout" Target="../slideLayouts/slideLayout549.xml"/><Relationship Id="rId576" Type="http://schemas.openxmlformats.org/officeDocument/2006/relationships/slideLayout" Target="../slideLayouts/slideLayout591.xml"/><Relationship Id="rId173" Type="http://schemas.openxmlformats.org/officeDocument/2006/relationships/slideLayout" Target="../slideLayouts/slideLayout188.xml"/><Relationship Id="rId229" Type="http://schemas.openxmlformats.org/officeDocument/2006/relationships/slideLayout" Target="../slideLayouts/slideLayout244.xml"/><Relationship Id="rId380" Type="http://schemas.openxmlformats.org/officeDocument/2006/relationships/slideLayout" Target="../slideLayouts/slideLayout395.xml"/><Relationship Id="rId436" Type="http://schemas.openxmlformats.org/officeDocument/2006/relationships/slideLayout" Target="../slideLayouts/slideLayout451.xml"/><Relationship Id="rId601" Type="http://schemas.openxmlformats.org/officeDocument/2006/relationships/slideLayout" Target="../slideLayouts/slideLayout616.xml"/><Relationship Id="rId240" Type="http://schemas.openxmlformats.org/officeDocument/2006/relationships/slideLayout" Target="../slideLayouts/slideLayout255.xml"/><Relationship Id="rId478" Type="http://schemas.openxmlformats.org/officeDocument/2006/relationships/slideLayout" Target="../slideLayouts/slideLayout493.xml"/><Relationship Id="rId35" Type="http://schemas.openxmlformats.org/officeDocument/2006/relationships/slideLayout" Target="../slideLayouts/slideLayout50.xml"/><Relationship Id="rId77" Type="http://schemas.openxmlformats.org/officeDocument/2006/relationships/slideLayout" Target="../slideLayouts/slideLayout92.xml"/><Relationship Id="rId100" Type="http://schemas.openxmlformats.org/officeDocument/2006/relationships/slideLayout" Target="../slideLayouts/slideLayout115.xml"/><Relationship Id="rId282" Type="http://schemas.openxmlformats.org/officeDocument/2006/relationships/slideLayout" Target="../slideLayouts/slideLayout297.xml"/><Relationship Id="rId338" Type="http://schemas.openxmlformats.org/officeDocument/2006/relationships/slideLayout" Target="../slideLayouts/slideLayout353.xml"/><Relationship Id="rId503" Type="http://schemas.openxmlformats.org/officeDocument/2006/relationships/slideLayout" Target="../slideLayouts/slideLayout518.xml"/><Relationship Id="rId545" Type="http://schemas.openxmlformats.org/officeDocument/2006/relationships/slideLayout" Target="../slideLayouts/slideLayout560.xml"/><Relationship Id="rId587" Type="http://schemas.openxmlformats.org/officeDocument/2006/relationships/slideLayout" Target="../slideLayouts/slideLayout602.xml"/><Relationship Id="rId8" Type="http://schemas.openxmlformats.org/officeDocument/2006/relationships/slideLayout" Target="../slideLayouts/slideLayout23.xml"/><Relationship Id="rId142" Type="http://schemas.openxmlformats.org/officeDocument/2006/relationships/slideLayout" Target="../slideLayouts/slideLayout157.xml"/><Relationship Id="rId184" Type="http://schemas.openxmlformats.org/officeDocument/2006/relationships/slideLayout" Target="../slideLayouts/slideLayout199.xml"/><Relationship Id="rId391" Type="http://schemas.openxmlformats.org/officeDocument/2006/relationships/slideLayout" Target="../slideLayouts/slideLayout406.xml"/><Relationship Id="rId405" Type="http://schemas.openxmlformats.org/officeDocument/2006/relationships/slideLayout" Target="../slideLayouts/slideLayout420.xml"/><Relationship Id="rId447" Type="http://schemas.openxmlformats.org/officeDocument/2006/relationships/slideLayout" Target="../slideLayouts/slideLayout462.xml"/><Relationship Id="rId612" Type="http://schemas.openxmlformats.org/officeDocument/2006/relationships/slideLayout" Target="../slideLayouts/slideLayout627.xml"/><Relationship Id="rId251" Type="http://schemas.openxmlformats.org/officeDocument/2006/relationships/slideLayout" Target="../slideLayouts/slideLayout266.xml"/><Relationship Id="rId489" Type="http://schemas.openxmlformats.org/officeDocument/2006/relationships/slideLayout" Target="../slideLayouts/slideLayout504.xml"/><Relationship Id="rId46" Type="http://schemas.openxmlformats.org/officeDocument/2006/relationships/slideLayout" Target="../slideLayouts/slideLayout61.xml"/><Relationship Id="rId293" Type="http://schemas.openxmlformats.org/officeDocument/2006/relationships/slideLayout" Target="../slideLayouts/slideLayout308.xml"/><Relationship Id="rId307" Type="http://schemas.openxmlformats.org/officeDocument/2006/relationships/slideLayout" Target="../slideLayouts/slideLayout322.xml"/><Relationship Id="rId349" Type="http://schemas.openxmlformats.org/officeDocument/2006/relationships/slideLayout" Target="../slideLayouts/slideLayout364.xml"/><Relationship Id="rId514" Type="http://schemas.openxmlformats.org/officeDocument/2006/relationships/slideLayout" Target="../slideLayouts/slideLayout529.xml"/><Relationship Id="rId556" Type="http://schemas.openxmlformats.org/officeDocument/2006/relationships/slideLayout" Target="../slideLayouts/slideLayout571.xml"/><Relationship Id="rId88" Type="http://schemas.openxmlformats.org/officeDocument/2006/relationships/slideLayout" Target="../slideLayouts/slideLayout103.xml"/><Relationship Id="rId111" Type="http://schemas.openxmlformats.org/officeDocument/2006/relationships/slideLayout" Target="../slideLayouts/slideLayout126.xml"/><Relationship Id="rId153" Type="http://schemas.openxmlformats.org/officeDocument/2006/relationships/slideLayout" Target="../slideLayouts/slideLayout168.xml"/><Relationship Id="rId195" Type="http://schemas.openxmlformats.org/officeDocument/2006/relationships/slideLayout" Target="../slideLayouts/slideLayout210.xml"/><Relationship Id="rId209" Type="http://schemas.openxmlformats.org/officeDocument/2006/relationships/slideLayout" Target="../slideLayouts/slideLayout224.xml"/><Relationship Id="rId360" Type="http://schemas.openxmlformats.org/officeDocument/2006/relationships/slideLayout" Target="../slideLayouts/slideLayout375.xml"/><Relationship Id="rId416" Type="http://schemas.openxmlformats.org/officeDocument/2006/relationships/slideLayout" Target="../slideLayouts/slideLayout431.xml"/><Relationship Id="rId598" Type="http://schemas.openxmlformats.org/officeDocument/2006/relationships/slideLayout" Target="../slideLayouts/slideLayout613.xml"/><Relationship Id="rId220" Type="http://schemas.openxmlformats.org/officeDocument/2006/relationships/slideLayout" Target="../slideLayouts/slideLayout235.xml"/><Relationship Id="rId458" Type="http://schemas.openxmlformats.org/officeDocument/2006/relationships/slideLayout" Target="../slideLayouts/slideLayout473.xml"/><Relationship Id="rId623" Type="http://schemas.openxmlformats.org/officeDocument/2006/relationships/slideLayout" Target="../slideLayouts/slideLayout638.xml"/><Relationship Id="rId15" Type="http://schemas.openxmlformats.org/officeDocument/2006/relationships/slideLayout" Target="../slideLayouts/slideLayout30.xml"/><Relationship Id="rId57" Type="http://schemas.openxmlformats.org/officeDocument/2006/relationships/slideLayout" Target="../slideLayouts/slideLayout72.xml"/><Relationship Id="rId262" Type="http://schemas.openxmlformats.org/officeDocument/2006/relationships/slideLayout" Target="../slideLayouts/slideLayout277.xml"/><Relationship Id="rId318" Type="http://schemas.openxmlformats.org/officeDocument/2006/relationships/slideLayout" Target="../slideLayouts/slideLayout333.xml"/><Relationship Id="rId525" Type="http://schemas.openxmlformats.org/officeDocument/2006/relationships/slideLayout" Target="../slideLayouts/slideLayout540.xml"/><Relationship Id="rId567" Type="http://schemas.openxmlformats.org/officeDocument/2006/relationships/slideLayout" Target="../slideLayouts/slideLayout582.xml"/><Relationship Id="rId99" Type="http://schemas.openxmlformats.org/officeDocument/2006/relationships/slideLayout" Target="../slideLayouts/slideLayout114.xml"/><Relationship Id="rId122" Type="http://schemas.openxmlformats.org/officeDocument/2006/relationships/slideLayout" Target="../slideLayouts/slideLayout137.xml"/><Relationship Id="rId164" Type="http://schemas.openxmlformats.org/officeDocument/2006/relationships/slideLayout" Target="../slideLayouts/slideLayout179.xml"/><Relationship Id="rId371" Type="http://schemas.openxmlformats.org/officeDocument/2006/relationships/slideLayout" Target="../slideLayouts/slideLayout386.xml"/><Relationship Id="rId427" Type="http://schemas.openxmlformats.org/officeDocument/2006/relationships/slideLayout" Target="../slideLayouts/slideLayout442.xml"/><Relationship Id="rId469" Type="http://schemas.openxmlformats.org/officeDocument/2006/relationships/slideLayout" Target="../slideLayouts/slideLayout484.xml"/><Relationship Id="rId634" Type="http://schemas.openxmlformats.org/officeDocument/2006/relationships/slideLayout" Target="../slideLayouts/slideLayout649.xml"/><Relationship Id="rId26" Type="http://schemas.openxmlformats.org/officeDocument/2006/relationships/slideLayout" Target="../slideLayouts/slideLayout41.xml"/><Relationship Id="rId231" Type="http://schemas.openxmlformats.org/officeDocument/2006/relationships/slideLayout" Target="../slideLayouts/slideLayout246.xml"/><Relationship Id="rId273" Type="http://schemas.openxmlformats.org/officeDocument/2006/relationships/slideLayout" Target="../slideLayouts/slideLayout288.xml"/><Relationship Id="rId329" Type="http://schemas.openxmlformats.org/officeDocument/2006/relationships/slideLayout" Target="../slideLayouts/slideLayout344.xml"/><Relationship Id="rId480" Type="http://schemas.openxmlformats.org/officeDocument/2006/relationships/slideLayout" Target="../slideLayouts/slideLayout495.xml"/><Relationship Id="rId536" Type="http://schemas.openxmlformats.org/officeDocument/2006/relationships/slideLayout" Target="../slideLayouts/slideLayout551.xml"/><Relationship Id="rId68" Type="http://schemas.openxmlformats.org/officeDocument/2006/relationships/slideLayout" Target="../slideLayouts/slideLayout83.xml"/><Relationship Id="rId133" Type="http://schemas.openxmlformats.org/officeDocument/2006/relationships/slideLayout" Target="../slideLayouts/slideLayout148.xml"/><Relationship Id="rId175" Type="http://schemas.openxmlformats.org/officeDocument/2006/relationships/slideLayout" Target="../slideLayouts/slideLayout190.xml"/><Relationship Id="rId340" Type="http://schemas.openxmlformats.org/officeDocument/2006/relationships/slideLayout" Target="../slideLayouts/slideLayout355.xml"/><Relationship Id="rId578" Type="http://schemas.openxmlformats.org/officeDocument/2006/relationships/slideLayout" Target="../slideLayouts/slideLayout593.xml"/><Relationship Id="rId200" Type="http://schemas.openxmlformats.org/officeDocument/2006/relationships/slideLayout" Target="../slideLayouts/slideLayout215.xml"/><Relationship Id="rId382" Type="http://schemas.openxmlformats.org/officeDocument/2006/relationships/slideLayout" Target="../slideLayouts/slideLayout397.xml"/><Relationship Id="rId438" Type="http://schemas.openxmlformats.org/officeDocument/2006/relationships/slideLayout" Target="../slideLayouts/slideLayout453.xml"/><Relationship Id="rId603" Type="http://schemas.openxmlformats.org/officeDocument/2006/relationships/slideLayout" Target="../slideLayouts/slideLayout618.xml"/><Relationship Id="rId242" Type="http://schemas.openxmlformats.org/officeDocument/2006/relationships/slideLayout" Target="../slideLayouts/slideLayout257.xml"/><Relationship Id="rId284" Type="http://schemas.openxmlformats.org/officeDocument/2006/relationships/slideLayout" Target="../slideLayouts/slideLayout299.xml"/><Relationship Id="rId491" Type="http://schemas.openxmlformats.org/officeDocument/2006/relationships/slideLayout" Target="../slideLayouts/slideLayout506.xml"/><Relationship Id="rId505" Type="http://schemas.openxmlformats.org/officeDocument/2006/relationships/slideLayout" Target="../slideLayouts/slideLayout520.xml"/><Relationship Id="rId37" Type="http://schemas.openxmlformats.org/officeDocument/2006/relationships/slideLayout" Target="../slideLayouts/slideLayout52.xml"/><Relationship Id="rId79" Type="http://schemas.openxmlformats.org/officeDocument/2006/relationships/slideLayout" Target="../slideLayouts/slideLayout94.xml"/><Relationship Id="rId102" Type="http://schemas.openxmlformats.org/officeDocument/2006/relationships/slideLayout" Target="../slideLayouts/slideLayout117.xml"/><Relationship Id="rId144" Type="http://schemas.openxmlformats.org/officeDocument/2006/relationships/slideLayout" Target="../slideLayouts/slideLayout159.xml"/><Relationship Id="rId547" Type="http://schemas.openxmlformats.org/officeDocument/2006/relationships/slideLayout" Target="../slideLayouts/slideLayout562.xml"/><Relationship Id="rId589" Type="http://schemas.openxmlformats.org/officeDocument/2006/relationships/slideLayout" Target="../slideLayouts/slideLayout604.xml"/><Relationship Id="rId90" Type="http://schemas.openxmlformats.org/officeDocument/2006/relationships/slideLayout" Target="../slideLayouts/slideLayout105.xml"/><Relationship Id="rId186" Type="http://schemas.openxmlformats.org/officeDocument/2006/relationships/slideLayout" Target="../slideLayouts/slideLayout201.xml"/><Relationship Id="rId351" Type="http://schemas.openxmlformats.org/officeDocument/2006/relationships/slideLayout" Target="../slideLayouts/slideLayout366.xml"/><Relationship Id="rId393" Type="http://schemas.openxmlformats.org/officeDocument/2006/relationships/slideLayout" Target="../slideLayouts/slideLayout408.xml"/><Relationship Id="rId407" Type="http://schemas.openxmlformats.org/officeDocument/2006/relationships/slideLayout" Target="../slideLayouts/slideLayout422.xml"/><Relationship Id="rId449" Type="http://schemas.openxmlformats.org/officeDocument/2006/relationships/slideLayout" Target="../slideLayouts/slideLayout464.xml"/><Relationship Id="rId614" Type="http://schemas.openxmlformats.org/officeDocument/2006/relationships/slideLayout" Target="../slideLayouts/slideLayout629.xml"/><Relationship Id="rId211" Type="http://schemas.openxmlformats.org/officeDocument/2006/relationships/slideLayout" Target="../slideLayouts/slideLayout226.xml"/><Relationship Id="rId253" Type="http://schemas.openxmlformats.org/officeDocument/2006/relationships/slideLayout" Target="../slideLayouts/slideLayout268.xml"/><Relationship Id="rId295" Type="http://schemas.openxmlformats.org/officeDocument/2006/relationships/slideLayout" Target="../slideLayouts/slideLayout310.xml"/><Relationship Id="rId309" Type="http://schemas.openxmlformats.org/officeDocument/2006/relationships/slideLayout" Target="../slideLayouts/slideLayout324.xml"/><Relationship Id="rId460" Type="http://schemas.openxmlformats.org/officeDocument/2006/relationships/slideLayout" Target="../slideLayouts/slideLayout475.xml"/><Relationship Id="rId516" Type="http://schemas.openxmlformats.org/officeDocument/2006/relationships/slideLayout" Target="../slideLayouts/slideLayout531.xml"/><Relationship Id="rId48" Type="http://schemas.openxmlformats.org/officeDocument/2006/relationships/slideLayout" Target="../slideLayouts/slideLayout63.xml"/><Relationship Id="rId113" Type="http://schemas.openxmlformats.org/officeDocument/2006/relationships/slideLayout" Target="../slideLayouts/slideLayout128.xml"/><Relationship Id="rId320" Type="http://schemas.openxmlformats.org/officeDocument/2006/relationships/slideLayout" Target="../slideLayouts/slideLayout335.xml"/><Relationship Id="rId558" Type="http://schemas.openxmlformats.org/officeDocument/2006/relationships/slideLayout" Target="../slideLayouts/slideLayout573.xml"/><Relationship Id="rId155" Type="http://schemas.openxmlformats.org/officeDocument/2006/relationships/slideLayout" Target="../slideLayouts/slideLayout170.xml"/><Relationship Id="rId197" Type="http://schemas.openxmlformats.org/officeDocument/2006/relationships/slideLayout" Target="../slideLayouts/slideLayout212.xml"/><Relationship Id="rId362" Type="http://schemas.openxmlformats.org/officeDocument/2006/relationships/slideLayout" Target="../slideLayouts/slideLayout377.xml"/><Relationship Id="rId418" Type="http://schemas.openxmlformats.org/officeDocument/2006/relationships/slideLayout" Target="../slideLayouts/slideLayout433.xml"/><Relationship Id="rId625" Type="http://schemas.openxmlformats.org/officeDocument/2006/relationships/slideLayout" Target="../slideLayouts/slideLayout640.xml"/><Relationship Id="rId222" Type="http://schemas.openxmlformats.org/officeDocument/2006/relationships/slideLayout" Target="../slideLayouts/slideLayout237.xml"/><Relationship Id="rId264" Type="http://schemas.openxmlformats.org/officeDocument/2006/relationships/slideLayout" Target="../slideLayouts/slideLayout279.xml"/><Relationship Id="rId471" Type="http://schemas.openxmlformats.org/officeDocument/2006/relationships/slideLayout" Target="../slideLayouts/slideLayout486.xml"/><Relationship Id="rId17" Type="http://schemas.openxmlformats.org/officeDocument/2006/relationships/slideLayout" Target="../slideLayouts/slideLayout32.xml"/><Relationship Id="rId59" Type="http://schemas.openxmlformats.org/officeDocument/2006/relationships/slideLayout" Target="../slideLayouts/slideLayout74.xml"/><Relationship Id="rId124" Type="http://schemas.openxmlformats.org/officeDocument/2006/relationships/slideLayout" Target="../slideLayouts/slideLayout139.xml"/><Relationship Id="rId527" Type="http://schemas.openxmlformats.org/officeDocument/2006/relationships/slideLayout" Target="../slideLayouts/slideLayout542.xml"/><Relationship Id="rId569" Type="http://schemas.openxmlformats.org/officeDocument/2006/relationships/slideLayout" Target="../slideLayouts/slideLayout584.xml"/><Relationship Id="rId70" Type="http://schemas.openxmlformats.org/officeDocument/2006/relationships/slideLayout" Target="../slideLayouts/slideLayout85.xml"/><Relationship Id="rId166" Type="http://schemas.openxmlformats.org/officeDocument/2006/relationships/slideLayout" Target="../slideLayouts/slideLayout181.xml"/><Relationship Id="rId331" Type="http://schemas.openxmlformats.org/officeDocument/2006/relationships/slideLayout" Target="../slideLayouts/slideLayout346.xml"/><Relationship Id="rId373" Type="http://schemas.openxmlformats.org/officeDocument/2006/relationships/slideLayout" Target="../slideLayouts/slideLayout388.xml"/><Relationship Id="rId429" Type="http://schemas.openxmlformats.org/officeDocument/2006/relationships/slideLayout" Target="../slideLayouts/slideLayout444.xml"/><Relationship Id="rId580" Type="http://schemas.openxmlformats.org/officeDocument/2006/relationships/slideLayout" Target="../slideLayouts/slideLayout595.xml"/><Relationship Id="rId636" Type="http://schemas.openxmlformats.org/officeDocument/2006/relationships/slideLayout" Target="../slideLayouts/slideLayout651.xml"/><Relationship Id="rId1" Type="http://schemas.openxmlformats.org/officeDocument/2006/relationships/slideLayout" Target="../slideLayouts/slideLayout16.xml"/><Relationship Id="rId233" Type="http://schemas.openxmlformats.org/officeDocument/2006/relationships/slideLayout" Target="../slideLayouts/slideLayout248.xml"/><Relationship Id="rId440" Type="http://schemas.openxmlformats.org/officeDocument/2006/relationships/slideLayout" Target="../slideLayouts/slideLayout455.xml"/><Relationship Id="rId28" Type="http://schemas.openxmlformats.org/officeDocument/2006/relationships/slideLayout" Target="../slideLayouts/slideLayout43.xml"/><Relationship Id="rId275" Type="http://schemas.openxmlformats.org/officeDocument/2006/relationships/slideLayout" Target="../slideLayouts/slideLayout290.xml"/><Relationship Id="rId300" Type="http://schemas.openxmlformats.org/officeDocument/2006/relationships/slideLayout" Target="../slideLayouts/slideLayout315.xml"/><Relationship Id="rId482" Type="http://schemas.openxmlformats.org/officeDocument/2006/relationships/slideLayout" Target="../slideLayouts/slideLayout497.xml"/><Relationship Id="rId538" Type="http://schemas.openxmlformats.org/officeDocument/2006/relationships/slideLayout" Target="../slideLayouts/slideLayout553.xml"/><Relationship Id="rId81" Type="http://schemas.openxmlformats.org/officeDocument/2006/relationships/slideLayout" Target="../slideLayouts/slideLayout96.xml"/><Relationship Id="rId135" Type="http://schemas.openxmlformats.org/officeDocument/2006/relationships/slideLayout" Target="../slideLayouts/slideLayout150.xml"/><Relationship Id="rId177" Type="http://schemas.openxmlformats.org/officeDocument/2006/relationships/slideLayout" Target="../slideLayouts/slideLayout192.xml"/><Relationship Id="rId342" Type="http://schemas.openxmlformats.org/officeDocument/2006/relationships/slideLayout" Target="../slideLayouts/slideLayout357.xml"/><Relationship Id="rId384" Type="http://schemas.openxmlformats.org/officeDocument/2006/relationships/slideLayout" Target="../slideLayouts/slideLayout399.xml"/><Relationship Id="rId591" Type="http://schemas.openxmlformats.org/officeDocument/2006/relationships/slideLayout" Target="../slideLayouts/slideLayout606.xml"/><Relationship Id="rId605" Type="http://schemas.openxmlformats.org/officeDocument/2006/relationships/slideLayout" Target="../slideLayouts/slideLayout620.xml"/><Relationship Id="rId202" Type="http://schemas.openxmlformats.org/officeDocument/2006/relationships/slideLayout" Target="../slideLayouts/slideLayout217.xml"/><Relationship Id="rId244" Type="http://schemas.openxmlformats.org/officeDocument/2006/relationships/slideLayout" Target="../slideLayouts/slideLayout259.xml"/><Relationship Id="rId39" Type="http://schemas.openxmlformats.org/officeDocument/2006/relationships/slideLayout" Target="../slideLayouts/slideLayout54.xml"/><Relationship Id="rId286" Type="http://schemas.openxmlformats.org/officeDocument/2006/relationships/slideLayout" Target="../slideLayouts/slideLayout301.xml"/><Relationship Id="rId451" Type="http://schemas.openxmlformats.org/officeDocument/2006/relationships/slideLayout" Target="../slideLayouts/slideLayout466.xml"/><Relationship Id="rId493" Type="http://schemas.openxmlformats.org/officeDocument/2006/relationships/slideLayout" Target="../slideLayouts/slideLayout508.xml"/><Relationship Id="rId507" Type="http://schemas.openxmlformats.org/officeDocument/2006/relationships/slideLayout" Target="../slideLayouts/slideLayout522.xml"/><Relationship Id="rId549" Type="http://schemas.openxmlformats.org/officeDocument/2006/relationships/slideLayout" Target="../slideLayouts/slideLayout564.xml"/><Relationship Id="rId50" Type="http://schemas.openxmlformats.org/officeDocument/2006/relationships/slideLayout" Target="../slideLayouts/slideLayout65.xml"/><Relationship Id="rId104" Type="http://schemas.openxmlformats.org/officeDocument/2006/relationships/slideLayout" Target="../slideLayouts/slideLayout119.xml"/><Relationship Id="rId146" Type="http://schemas.openxmlformats.org/officeDocument/2006/relationships/slideLayout" Target="../slideLayouts/slideLayout161.xml"/><Relationship Id="rId188" Type="http://schemas.openxmlformats.org/officeDocument/2006/relationships/slideLayout" Target="../slideLayouts/slideLayout203.xml"/><Relationship Id="rId311" Type="http://schemas.openxmlformats.org/officeDocument/2006/relationships/slideLayout" Target="../slideLayouts/slideLayout326.xml"/><Relationship Id="rId353" Type="http://schemas.openxmlformats.org/officeDocument/2006/relationships/slideLayout" Target="../slideLayouts/slideLayout368.xml"/><Relationship Id="rId395" Type="http://schemas.openxmlformats.org/officeDocument/2006/relationships/slideLayout" Target="../slideLayouts/slideLayout410.xml"/><Relationship Id="rId409" Type="http://schemas.openxmlformats.org/officeDocument/2006/relationships/slideLayout" Target="../slideLayouts/slideLayout424.xml"/><Relationship Id="rId560" Type="http://schemas.openxmlformats.org/officeDocument/2006/relationships/slideLayout" Target="../slideLayouts/slideLayout575.xml"/><Relationship Id="rId92" Type="http://schemas.openxmlformats.org/officeDocument/2006/relationships/slideLayout" Target="../slideLayouts/slideLayout107.xml"/><Relationship Id="rId213" Type="http://schemas.openxmlformats.org/officeDocument/2006/relationships/slideLayout" Target="../slideLayouts/slideLayout228.xml"/><Relationship Id="rId420" Type="http://schemas.openxmlformats.org/officeDocument/2006/relationships/slideLayout" Target="../slideLayouts/slideLayout435.xml"/><Relationship Id="rId616" Type="http://schemas.openxmlformats.org/officeDocument/2006/relationships/slideLayout" Target="../slideLayouts/slideLayout631.xml"/><Relationship Id="rId255" Type="http://schemas.openxmlformats.org/officeDocument/2006/relationships/slideLayout" Target="../slideLayouts/slideLayout270.xml"/><Relationship Id="rId297" Type="http://schemas.openxmlformats.org/officeDocument/2006/relationships/slideLayout" Target="../slideLayouts/slideLayout312.xml"/><Relationship Id="rId462" Type="http://schemas.openxmlformats.org/officeDocument/2006/relationships/slideLayout" Target="../slideLayouts/slideLayout477.xml"/><Relationship Id="rId518" Type="http://schemas.openxmlformats.org/officeDocument/2006/relationships/slideLayout" Target="../slideLayouts/slideLayout533.xml"/><Relationship Id="rId115" Type="http://schemas.openxmlformats.org/officeDocument/2006/relationships/slideLayout" Target="../slideLayouts/slideLayout130.xml"/><Relationship Id="rId157" Type="http://schemas.openxmlformats.org/officeDocument/2006/relationships/slideLayout" Target="../slideLayouts/slideLayout172.xml"/><Relationship Id="rId322" Type="http://schemas.openxmlformats.org/officeDocument/2006/relationships/slideLayout" Target="../slideLayouts/slideLayout337.xml"/><Relationship Id="rId364" Type="http://schemas.openxmlformats.org/officeDocument/2006/relationships/slideLayout" Target="../slideLayouts/slideLayout379.xml"/><Relationship Id="rId61" Type="http://schemas.openxmlformats.org/officeDocument/2006/relationships/slideLayout" Target="../slideLayouts/slideLayout76.xml"/><Relationship Id="rId199" Type="http://schemas.openxmlformats.org/officeDocument/2006/relationships/slideLayout" Target="../slideLayouts/slideLayout214.xml"/><Relationship Id="rId571" Type="http://schemas.openxmlformats.org/officeDocument/2006/relationships/slideLayout" Target="../slideLayouts/slideLayout586.xml"/><Relationship Id="rId627" Type="http://schemas.openxmlformats.org/officeDocument/2006/relationships/slideLayout" Target="../slideLayouts/slideLayout642.xml"/><Relationship Id="rId19" Type="http://schemas.openxmlformats.org/officeDocument/2006/relationships/slideLayout" Target="../slideLayouts/slideLayout34.xml"/><Relationship Id="rId224" Type="http://schemas.openxmlformats.org/officeDocument/2006/relationships/slideLayout" Target="../slideLayouts/slideLayout239.xml"/><Relationship Id="rId266" Type="http://schemas.openxmlformats.org/officeDocument/2006/relationships/slideLayout" Target="../slideLayouts/slideLayout281.xml"/><Relationship Id="rId431" Type="http://schemas.openxmlformats.org/officeDocument/2006/relationships/slideLayout" Target="../slideLayouts/slideLayout446.xml"/><Relationship Id="rId473" Type="http://schemas.openxmlformats.org/officeDocument/2006/relationships/slideLayout" Target="../slideLayouts/slideLayout488.xml"/><Relationship Id="rId529" Type="http://schemas.openxmlformats.org/officeDocument/2006/relationships/slideLayout" Target="../slideLayouts/slideLayout544.xml"/><Relationship Id="rId30" Type="http://schemas.openxmlformats.org/officeDocument/2006/relationships/slideLayout" Target="../slideLayouts/slideLayout45.xml"/><Relationship Id="rId126" Type="http://schemas.openxmlformats.org/officeDocument/2006/relationships/slideLayout" Target="../slideLayouts/slideLayout141.xml"/><Relationship Id="rId168" Type="http://schemas.openxmlformats.org/officeDocument/2006/relationships/slideLayout" Target="../slideLayouts/slideLayout183.xml"/><Relationship Id="rId333" Type="http://schemas.openxmlformats.org/officeDocument/2006/relationships/slideLayout" Target="../slideLayouts/slideLayout348.xml"/><Relationship Id="rId540" Type="http://schemas.openxmlformats.org/officeDocument/2006/relationships/slideLayout" Target="../slideLayouts/slideLayout555.xml"/><Relationship Id="rId72" Type="http://schemas.openxmlformats.org/officeDocument/2006/relationships/slideLayout" Target="../slideLayouts/slideLayout87.xml"/><Relationship Id="rId375" Type="http://schemas.openxmlformats.org/officeDocument/2006/relationships/slideLayout" Target="../slideLayouts/slideLayout390.xml"/><Relationship Id="rId582" Type="http://schemas.openxmlformats.org/officeDocument/2006/relationships/slideLayout" Target="../slideLayouts/slideLayout597.xml"/><Relationship Id="rId638" Type="http://schemas.openxmlformats.org/officeDocument/2006/relationships/slideLayout" Target="../slideLayouts/slideLayout653.xml"/><Relationship Id="rId3" Type="http://schemas.openxmlformats.org/officeDocument/2006/relationships/slideLayout" Target="../slideLayouts/slideLayout18.xml"/><Relationship Id="rId235" Type="http://schemas.openxmlformats.org/officeDocument/2006/relationships/slideLayout" Target="../slideLayouts/slideLayout250.xml"/><Relationship Id="rId277" Type="http://schemas.openxmlformats.org/officeDocument/2006/relationships/slideLayout" Target="../slideLayouts/slideLayout292.xml"/><Relationship Id="rId400" Type="http://schemas.openxmlformats.org/officeDocument/2006/relationships/slideLayout" Target="../slideLayouts/slideLayout415.xml"/><Relationship Id="rId442" Type="http://schemas.openxmlformats.org/officeDocument/2006/relationships/slideLayout" Target="../slideLayouts/slideLayout457.xml"/><Relationship Id="rId484" Type="http://schemas.openxmlformats.org/officeDocument/2006/relationships/slideLayout" Target="../slideLayouts/slideLayout499.xml"/><Relationship Id="rId137" Type="http://schemas.openxmlformats.org/officeDocument/2006/relationships/slideLayout" Target="../slideLayouts/slideLayout152.xml"/><Relationship Id="rId302" Type="http://schemas.openxmlformats.org/officeDocument/2006/relationships/slideLayout" Target="../slideLayouts/slideLayout317.xml"/><Relationship Id="rId344" Type="http://schemas.openxmlformats.org/officeDocument/2006/relationships/slideLayout" Target="../slideLayouts/slideLayout359.xml"/><Relationship Id="rId41" Type="http://schemas.openxmlformats.org/officeDocument/2006/relationships/slideLayout" Target="../slideLayouts/slideLayout56.xml"/><Relationship Id="rId83" Type="http://schemas.openxmlformats.org/officeDocument/2006/relationships/slideLayout" Target="../slideLayouts/slideLayout98.xml"/><Relationship Id="rId179" Type="http://schemas.openxmlformats.org/officeDocument/2006/relationships/slideLayout" Target="../slideLayouts/slideLayout194.xml"/><Relationship Id="rId386" Type="http://schemas.openxmlformats.org/officeDocument/2006/relationships/slideLayout" Target="../slideLayouts/slideLayout401.xml"/><Relationship Id="rId551" Type="http://schemas.openxmlformats.org/officeDocument/2006/relationships/slideLayout" Target="../slideLayouts/slideLayout566.xml"/><Relationship Id="rId593" Type="http://schemas.openxmlformats.org/officeDocument/2006/relationships/slideLayout" Target="../slideLayouts/slideLayout608.xml"/><Relationship Id="rId607" Type="http://schemas.openxmlformats.org/officeDocument/2006/relationships/slideLayout" Target="../slideLayouts/slideLayout622.xml"/><Relationship Id="rId190" Type="http://schemas.openxmlformats.org/officeDocument/2006/relationships/slideLayout" Target="../slideLayouts/slideLayout205.xml"/><Relationship Id="rId204" Type="http://schemas.openxmlformats.org/officeDocument/2006/relationships/slideLayout" Target="../slideLayouts/slideLayout219.xml"/><Relationship Id="rId246" Type="http://schemas.openxmlformats.org/officeDocument/2006/relationships/slideLayout" Target="../slideLayouts/slideLayout261.xml"/><Relationship Id="rId288" Type="http://schemas.openxmlformats.org/officeDocument/2006/relationships/slideLayout" Target="../slideLayouts/slideLayout303.xml"/><Relationship Id="rId411" Type="http://schemas.openxmlformats.org/officeDocument/2006/relationships/slideLayout" Target="../slideLayouts/slideLayout426.xml"/><Relationship Id="rId453" Type="http://schemas.openxmlformats.org/officeDocument/2006/relationships/slideLayout" Target="../slideLayouts/slideLayout468.xml"/><Relationship Id="rId509" Type="http://schemas.openxmlformats.org/officeDocument/2006/relationships/slideLayout" Target="../slideLayouts/slideLayout524.xml"/><Relationship Id="rId106" Type="http://schemas.openxmlformats.org/officeDocument/2006/relationships/slideLayout" Target="../slideLayouts/slideLayout121.xml"/><Relationship Id="rId313" Type="http://schemas.openxmlformats.org/officeDocument/2006/relationships/slideLayout" Target="../slideLayouts/slideLayout328.xml"/><Relationship Id="rId495" Type="http://schemas.openxmlformats.org/officeDocument/2006/relationships/slideLayout" Target="../slideLayouts/slideLayout510.xml"/><Relationship Id="rId10" Type="http://schemas.openxmlformats.org/officeDocument/2006/relationships/slideLayout" Target="../slideLayouts/slideLayout25.xml"/><Relationship Id="rId52" Type="http://schemas.openxmlformats.org/officeDocument/2006/relationships/slideLayout" Target="../slideLayouts/slideLayout67.xml"/><Relationship Id="rId94" Type="http://schemas.openxmlformats.org/officeDocument/2006/relationships/slideLayout" Target="../slideLayouts/slideLayout109.xml"/><Relationship Id="rId148" Type="http://schemas.openxmlformats.org/officeDocument/2006/relationships/slideLayout" Target="../slideLayouts/slideLayout163.xml"/><Relationship Id="rId355" Type="http://schemas.openxmlformats.org/officeDocument/2006/relationships/slideLayout" Target="../slideLayouts/slideLayout370.xml"/><Relationship Id="rId397" Type="http://schemas.openxmlformats.org/officeDocument/2006/relationships/slideLayout" Target="../slideLayouts/slideLayout412.xml"/><Relationship Id="rId520" Type="http://schemas.openxmlformats.org/officeDocument/2006/relationships/slideLayout" Target="../slideLayouts/slideLayout535.xml"/><Relationship Id="rId562" Type="http://schemas.openxmlformats.org/officeDocument/2006/relationships/slideLayout" Target="../slideLayouts/slideLayout577.xml"/><Relationship Id="rId618" Type="http://schemas.openxmlformats.org/officeDocument/2006/relationships/slideLayout" Target="../slideLayouts/slideLayout633.xml"/><Relationship Id="rId215" Type="http://schemas.openxmlformats.org/officeDocument/2006/relationships/slideLayout" Target="../slideLayouts/slideLayout230.xml"/><Relationship Id="rId257" Type="http://schemas.openxmlformats.org/officeDocument/2006/relationships/slideLayout" Target="../slideLayouts/slideLayout272.xml"/><Relationship Id="rId422" Type="http://schemas.openxmlformats.org/officeDocument/2006/relationships/slideLayout" Target="../slideLayouts/slideLayout437.xml"/><Relationship Id="rId464" Type="http://schemas.openxmlformats.org/officeDocument/2006/relationships/slideLayout" Target="../slideLayouts/slideLayout479.xml"/><Relationship Id="rId299" Type="http://schemas.openxmlformats.org/officeDocument/2006/relationships/slideLayout" Target="../slideLayouts/slideLayout314.xml"/><Relationship Id="rId63" Type="http://schemas.openxmlformats.org/officeDocument/2006/relationships/slideLayout" Target="../slideLayouts/slideLayout78.xml"/><Relationship Id="rId159" Type="http://schemas.openxmlformats.org/officeDocument/2006/relationships/slideLayout" Target="../slideLayouts/slideLayout174.xml"/><Relationship Id="rId366" Type="http://schemas.openxmlformats.org/officeDocument/2006/relationships/slideLayout" Target="../slideLayouts/slideLayout381.xml"/><Relationship Id="rId573" Type="http://schemas.openxmlformats.org/officeDocument/2006/relationships/slideLayout" Target="../slideLayouts/slideLayout588.xml"/><Relationship Id="rId226" Type="http://schemas.openxmlformats.org/officeDocument/2006/relationships/slideLayout" Target="../slideLayouts/slideLayout241.xml"/><Relationship Id="rId433" Type="http://schemas.openxmlformats.org/officeDocument/2006/relationships/slideLayout" Target="../slideLayouts/slideLayout448.xml"/><Relationship Id="rId640" Type="http://schemas.openxmlformats.org/officeDocument/2006/relationships/slideLayout" Target="../slideLayouts/slideLayout655.xml"/><Relationship Id="rId74" Type="http://schemas.openxmlformats.org/officeDocument/2006/relationships/slideLayout" Target="../slideLayouts/slideLayout89.xml"/><Relationship Id="rId377" Type="http://schemas.openxmlformats.org/officeDocument/2006/relationships/slideLayout" Target="../slideLayouts/slideLayout392.xml"/><Relationship Id="rId500" Type="http://schemas.openxmlformats.org/officeDocument/2006/relationships/slideLayout" Target="../slideLayouts/slideLayout515.xml"/><Relationship Id="rId584" Type="http://schemas.openxmlformats.org/officeDocument/2006/relationships/slideLayout" Target="../slideLayouts/slideLayout599.xml"/><Relationship Id="rId5" Type="http://schemas.openxmlformats.org/officeDocument/2006/relationships/slideLayout" Target="../slideLayouts/slideLayout20.xml"/><Relationship Id="rId237" Type="http://schemas.openxmlformats.org/officeDocument/2006/relationships/slideLayout" Target="../slideLayouts/slideLayout252.xml"/><Relationship Id="rId444" Type="http://schemas.openxmlformats.org/officeDocument/2006/relationships/slideLayout" Target="../slideLayouts/slideLayout459.xml"/><Relationship Id="rId290" Type="http://schemas.openxmlformats.org/officeDocument/2006/relationships/slideLayout" Target="../slideLayouts/slideLayout305.xml"/><Relationship Id="rId304" Type="http://schemas.openxmlformats.org/officeDocument/2006/relationships/slideLayout" Target="../slideLayouts/slideLayout319.xml"/><Relationship Id="rId388" Type="http://schemas.openxmlformats.org/officeDocument/2006/relationships/slideLayout" Target="../slideLayouts/slideLayout403.xml"/><Relationship Id="rId511" Type="http://schemas.openxmlformats.org/officeDocument/2006/relationships/slideLayout" Target="../slideLayouts/slideLayout526.xml"/><Relationship Id="rId609" Type="http://schemas.openxmlformats.org/officeDocument/2006/relationships/slideLayout" Target="../slideLayouts/slideLayout624.xml"/><Relationship Id="rId85" Type="http://schemas.openxmlformats.org/officeDocument/2006/relationships/slideLayout" Target="../slideLayouts/slideLayout100.xml"/><Relationship Id="rId150" Type="http://schemas.openxmlformats.org/officeDocument/2006/relationships/slideLayout" Target="../slideLayouts/slideLayout165.xml"/><Relationship Id="rId595" Type="http://schemas.openxmlformats.org/officeDocument/2006/relationships/slideLayout" Target="../slideLayouts/slideLayout610.xml"/><Relationship Id="rId248" Type="http://schemas.openxmlformats.org/officeDocument/2006/relationships/slideLayout" Target="../slideLayouts/slideLayout263.xml"/><Relationship Id="rId455" Type="http://schemas.openxmlformats.org/officeDocument/2006/relationships/slideLayout" Target="../slideLayouts/slideLayout470.xml"/><Relationship Id="rId12" Type="http://schemas.openxmlformats.org/officeDocument/2006/relationships/slideLayout" Target="../slideLayouts/slideLayout27.xml"/><Relationship Id="rId108" Type="http://schemas.openxmlformats.org/officeDocument/2006/relationships/slideLayout" Target="../slideLayouts/slideLayout123.xml"/><Relationship Id="rId315" Type="http://schemas.openxmlformats.org/officeDocument/2006/relationships/slideLayout" Target="../slideLayouts/slideLayout330.xml"/><Relationship Id="rId522" Type="http://schemas.openxmlformats.org/officeDocument/2006/relationships/slideLayout" Target="../slideLayouts/slideLayout537.xml"/><Relationship Id="rId96" Type="http://schemas.openxmlformats.org/officeDocument/2006/relationships/slideLayout" Target="../slideLayouts/slideLayout111.xml"/><Relationship Id="rId161" Type="http://schemas.openxmlformats.org/officeDocument/2006/relationships/slideLayout" Target="../slideLayouts/slideLayout176.xml"/><Relationship Id="rId399" Type="http://schemas.openxmlformats.org/officeDocument/2006/relationships/slideLayout" Target="../slideLayouts/slideLayout414.xml"/><Relationship Id="rId259" Type="http://schemas.openxmlformats.org/officeDocument/2006/relationships/slideLayout" Target="../slideLayouts/slideLayout274.xml"/><Relationship Id="rId466" Type="http://schemas.openxmlformats.org/officeDocument/2006/relationships/slideLayout" Target="../slideLayouts/slideLayout481.xml"/><Relationship Id="rId23" Type="http://schemas.openxmlformats.org/officeDocument/2006/relationships/slideLayout" Target="../slideLayouts/slideLayout38.xml"/><Relationship Id="rId119" Type="http://schemas.openxmlformats.org/officeDocument/2006/relationships/slideLayout" Target="../slideLayouts/slideLayout134.xml"/><Relationship Id="rId326" Type="http://schemas.openxmlformats.org/officeDocument/2006/relationships/slideLayout" Target="../slideLayouts/slideLayout341.xml"/><Relationship Id="rId533" Type="http://schemas.openxmlformats.org/officeDocument/2006/relationships/slideLayout" Target="../slideLayouts/slideLayout548.xml"/><Relationship Id="rId172" Type="http://schemas.openxmlformats.org/officeDocument/2006/relationships/slideLayout" Target="../slideLayouts/slideLayout187.xml"/><Relationship Id="rId477" Type="http://schemas.openxmlformats.org/officeDocument/2006/relationships/slideLayout" Target="../slideLayouts/slideLayout492.xml"/><Relationship Id="rId600" Type="http://schemas.openxmlformats.org/officeDocument/2006/relationships/slideLayout" Target="../slideLayouts/slideLayout615.xml"/><Relationship Id="rId337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49.xml"/><Relationship Id="rId544" Type="http://schemas.openxmlformats.org/officeDocument/2006/relationships/slideLayout" Target="../slideLayouts/slideLayout559.xml"/><Relationship Id="rId183" Type="http://schemas.openxmlformats.org/officeDocument/2006/relationships/slideLayout" Target="../slideLayouts/slideLayout198.xml"/><Relationship Id="rId390" Type="http://schemas.openxmlformats.org/officeDocument/2006/relationships/slideLayout" Target="../slideLayouts/slideLayout405.xml"/><Relationship Id="rId404" Type="http://schemas.openxmlformats.org/officeDocument/2006/relationships/slideLayout" Target="../slideLayouts/slideLayout419.xml"/><Relationship Id="rId611" Type="http://schemas.openxmlformats.org/officeDocument/2006/relationships/slideLayout" Target="../slideLayouts/slideLayout626.xml"/><Relationship Id="rId250" Type="http://schemas.openxmlformats.org/officeDocument/2006/relationships/slideLayout" Target="../slideLayouts/slideLayout265.xml"/><Relationship Id="rId488" Type="http://schemas.openxmlformats.org/officeDocument/2006/relationships/slideLayout" Target="../slideLayouts/slideLayout503.xml"/><Relationship Id="rId45" Type="http://schemas.openxmlformats.org/officeDocument/2006/relationships/slideLayout" Target="../slideLayouts/slideLayout60.xml"/><Relationship Id="rId110" Type="http://schemas.openxmlformats.org/officeDocument/2006/relationships/slideLayout" Target="../slideLayouts/slideLayout125.xml"/><Relationship Id="rId348" Type="http://schemas.openxmlformats.org/officeDocument/2006/relationships/slideLayout" Target="../slideLayouts/slideLayout363.xml"/><Relationship Id="rId555" Type="http://schemas.openxmlformats.org/officeDocument/2006/relationships/slideLayout" Target="../slideLayouts/slideLayout570.xml"/><Relationship Id="rId194" Type="http://schemas.openxmlformats.org/officeDocument/2006/relationships/slideLayout" Target="../slideLayouts/slideLayout209.xml"/><Relationship Id="rId208" Type="http://schemas.openxmlformats.org/officeDocument/2006/relationships/slideLayout" Target="../slideLayouts/slideLayout223.xml"/><Relationship Id="rId415" Type="http://schemas.openxmlformats.org/officeDocument/2006/relationships/slideLayout" Target="../slideLayouts/slideLayout430.xml"/><Relationship Id="rId622" Type="http://schemas.openxmlformats.org/officeDocument/2006/relationships/slideLayout" Target="../slideLayouts/slideLayout637.xml"/><Relationship Id="rId261" Type="http://schemas.openxmlformats.org/officeDocument/2006/relationships/slideLayout" Target="../slideLayouts/slideLayout276.xml"/><Relationship Id="rId499" Type="http://schemas.openxmlformats.org/officeDocument/2006/relationships/slideLayout" Target="../slideLayouts/slideLayout514.xml"/><Relationship Id="rId56" Type="http://schemas.openxmlformats.org/officeDocument/2006/relationships/slideLayout" Target="../slideLayouts/slideLayout71.xml"/><Relationship Id="rId359" Type="http://schemas.openxmlformats.org/officeDocument/2006/relationships/slideLayout" Target="../slideLayouts/slideLayout374.xml"/><Relationship Id="rId566" Type="http://schemas.openxmlformats.org/officeDocument/2006/relationships/slideLayout" Target="../slideLayouts/slideLayout581.xml"/><Relationship Id="rId121" Type="http://schemas.openxmlformats.org/officeDocument/2006/relationships/slideLayout" Target="../slideLayouts/slideLayout136.xml"/><Relationship Id="rId219" Type="http://schemas.openxmlformats.org/officeDocument/2006/relationships/slideLayout" Target="../slideLayouts/slideLayout234.xml"/><Relationship Id="rId426" Type="http://schemas.openxmlformats.org/officeDocument/2006/relationships/slideLayout" Target="../slideLayouts/slideLayout441.xml"/><Relationship Id="rId633" Type="http://schemas.openxmlformats.org/officeDocument/2006/relationships/slideLayout" Target="../slideLayouts/slideLayout648.xml"/><Relationship Id="rId67" Type="http://schemas.openxmlformats.org/officeDocument/2006/relationships/slideLayout" Target="../slideLayouts/slideLayout82.xml"/><Relationship Id="rId272" Type="http://schemas.openxmlformats.org/officeDocument/2006/relationships/slideLayout" Target="../slideLayouts/slideLayout287.xml"/><Relationship Id="rId577" Type="http://schemas.openxmlformats.org/officeDocument/2006/relationships/slideLayout" Target="../slideLayouts/slideLayout592.xml"/><Relationship Id="rId132" Type="http://schemas.openxmlformats.org/officeDocument/2006/relationships/slideLayout" Target="../slideLayouts/slideLayout147.xml"/><Relationship Id="rId437" Type="http://schemas.openxmlformats.org/officeDocument/2006/relationships/slideLayout" Target="../slideLayouts/slideLayout452.xml"/><Relationship Id="rId283" Type="http://schemas.openxmlformats.org/officeDocument/2006/relationships/slideLayout" Target="../slideLayouts/slideLayout298.xml"/><Relationship Id="rId490" Type="http://schemas.openxmlformats.org/officeDocument/2006/relationships/slideLayout" Target="../slideLayouts/slideLayout505.xml"/><Relationship Id="rId504" Type="http://schemas.openxmlformats.org/officeDocument/2006/relationships/slideLayout" Target="../slideLayouts/slideLayout519.xml"/><Relationship Id="rId78" Type="http://schemas.openxmlformats.org/officeDocument/2006/relationships/slideLayout" Target="../slideLayouts/slideLayout93.xml"/><Relationship Id="rId143" Type="http://schemas.openxmlformats.org/officeDocument/2006/relationships/slideLayout" Target="../slideLayouts/slideLayout158.xml"/><Relationship Id="rId350" Type="http://schemas.openxmlformats.org/officeDocument/2006/relationships/slideLayout" Target="../slideLayouts/slideLayout365.xml"/><Relationship Id="rId588" Type="http://schemas.openxmlformats.org/officeDocument/2006/relationships/slideLayout" Target="../slideLayouts/slideLayout603.xml"/><Relationship Id="rId9" Type="http://schemas.openxmlformats.org/officeDocument/2006/relationships/slideLayout" Target="../slideLayouts/slideLayout24.xml"/><Relationship Id="rId210" Type="http://schemas.openxmlformats.org/officeDocument/2006/relationships/slideLayout" Target="../slideLayouts/slideLayout225.xml"/><Relationship Id="rId448" Type="http://schemas.openxmlformats.org/officeDocument/2006/relationships/slideLayout" Target="../slideLayouts/slideLayout463.xml"/><Relationship Id="rId294" Type="http://schemas.openxmlformats.org/officeDocument/2006/relationships/slideLayout" Target="../slideLayouts/slideLayout309.xml"/><Relationship Id="rId308" Type="http://schemas.openxmlformats.org/officeDocument/2006/relationships/slideLayout" Target="../slideLayouts/slideLayout323.xml"/><Relationship Id="rId515" Type="http://schemas.openxmlformats.org/officeDocument/2006/relationships/slideLayout" Target="../slideLayouts/slideLayout5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4.xml"/><Relationship Id="rId13" Type="http://schemas.openxmlformats.org/officeDocument/2006/relationships/slideLayout" Target="../slideLayouts/slideLayout669.xml"/><Relationship Id="rId18" Type="http://schemas.openxmlformats.org/officeDocument/2006/relationships/slideLayout" Target="../slideLayouts/slideLayout674.xml"/><Relationship Id="rId3" Type="http://schemas.openxmlformats.org/officeDocument/2006/relationships/slideLayout" Target="../slideLayouts/slideLayout659.xml"/><Relationship Id="rId7" Type="http://schemas.openxmlformats.org/officeDocument/2006/relationships/slideLayout" Target="../slideLayouts/slideLayout663.xml"/><Relationship Id="rId12" Type="http://schemas.openxmlformats.org/officeDocument/2006/relationships/slideLayout" Target="../slideLayouts/slideLayout668.xml"/><Relationship Id="rId17" Type="http://schemas.openxmlformats.org/officeDocument/2006/relationships/slideLayout" Target="../slideLayouts/slideLayout673.xml"/><Relationship Id="rId2" Type="http://schemas.openxmlformats.org/officeDocument/2006/relationships/slideLayout" Target="../slideLayouts/slideLayout658.xml"/><Relationship Id="rId16" Type="http://schemas.openxmlformats.org/officeDocument/2006/relationships/slideLayout" Target="../slideLayouts/slideLayout672.xml"/><Relationship Id="rId1" Type="http://schemas.openxmlformats.org/officeDocument/2006/relationships/slideLayout" Target="../slideLayouts/slideLayout657.xml"/><Relationship Id="rId6" Type="http://schemas.openxmlformats.org/officeDocument/2006/relationships/slideLayout" Target="../slideLayouts/slideLayout662.xml"/><Relationship Id="rId11" Type="http://schemas.openxmlformats.org/officeDocument/2006/relationships/slideLayout" Target="../slideLayouts/slideLayout667.xml"/><Relationship Id="rId5" Type="http://schemas.openxmlformats.org/officeDocument/2006/relationships/slideLayout" Target="../slideLayouts/slideLayout661.xml"/><Relationship Id="rId15" Type="http://schemas.openxmlformats.org/officeDocument/2006/relationships/slideLayout" Target="../slideLayouts/slideLayout671.xml"/><Relationship Id="rId10" Type="http://schemas.openxmlformats.org/officeDocument/2006/relationships/slideLayout" Target="../slideLayouts/slideLayout66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660.xml"/><Relationship Id="rId9" Type="http://schemas.openxmlformats.org/officeDocument/2006/relationships/slideLayout" Target="../slideLayouts/slideLayout665.xml"/><Relationship Id="rId14" Type="http://schemas.openxmlformats.org/officeDocument/2006/relationships/slideLayout" Target="../slideLayouts/slideLayout6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47" r:id="rId1"/>
    <p:sldLayoutId id="2147488248" r:id="rId2"/>
    <p:sldLayoutId id="2147488249" r:id="rId3"/>
    <p:sldLayoutId id="2147488250" r:id="rId4"/>
    <p:sldLayoutId id="2147488251" r:id="rId5"/>
    <p:sldLayoutId id="2147488252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8242" r:id="rId12"/>
    <p:sldLayoutId id="2147488243" r:id="rId13"/>
    <p:sldLayoutId id="2147488244" r:id="rId14"/>
    <p:sldLayoutId id="214748824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8227" r:id="rId9"/>
    <p:sldLayoutId id="2147487036" r:id="rId10"/>
    <p:sldLayoutId id="2147487037" r:id="rId11"/>
    <p:sldLayoutId id="2147487038" r:id="rId12"/>
    <p:sldLayoutId id="2147487178" r:id="rId13"/>
    <p:sldLayoutId id="2147487179" r:id="rId14"/>
    <p:sldLayoutId id="2147487180" r:id="rId15"/>
    <p:sldLayoutId id="2147487039" r:id="rId16"/>
    <p:sldLayoutId id="2147487182" r:id="rId17"/>
    <p:sldLayoutId id="2147487183" r:id="rId18"/>
    <p:sldLayoutId id="2147487184" r:id="rId19"/>
    <p:sldLayoutId id="2147487185" r:id="rId20"/>
    <p:sldLayoutId id="2147487040" r:id="rId21"/>
    <p:sldLayoutId id="2147487041" r:id="rId22"/>
    <p:sldLayoutId id="2147487188" r:id="rId23"/>
    <p:sldLayoutId id="2147487189" r:id="rId24"/>
    <p:sldLayoutId id="2147487190" r:id="rId25"/>
    <p:sldLayoutId id="2147487042" r:id="rId26"/>
    <p:sldLayoutId id="2147487192" r:id="rId27"/>
    <p:sldLayoutId id="2147487193" r:id="rId28"/>
    <p:sldLayoutId id="2147487043" r:id="rId29"/>
    <p:sldLayoutId id="2147487044" r:id="rId30"/>
    <p:sldLayoutId id="2147487045" r:id="rId31"/>
    <p:sldLayoutId id="2147487046" r:id="rId32"/>
    <p:sldLayoutId id="2147487047" r:id="rId33"/>
    <p:sldLayoutId id="2147487048" r:id="rId34"/>
    <p:sldLayoutId id="2147487049" r:id="rId35"/>
    <p:sldLayoutId id="2147487050" r:id="rId36"/>
    <p:sldLayoutId id="2147487051" r:id="rId37"/>
    <p:sldLayoutId id="2147487052" r:id="rId38"/>
    <p:sldLayoutId id="2147487053" r:id="rId39"/>
    <p:sldLayoutId id="2147487205" r:id="rId40"/>
    <p:sldLayoutId id="2147487206" r:id="rId41"/>
    <p:sldLayoutId id="2147488228" r:id="rId42"/>
    <p:sldLayoutId id="2147487207" r:id="rId43"/>
    <p:sldLayoutId id="2147487208" r:id="rId44"/>
    <p:sldLayoutId id="2147487209" r:id="rId45"/>
    <p:sldLayoutId id="2147487210" r:id="rId46"/>
    <p:sldLayoutId id="2147487211" r:id="rId47"/>
    <p:sldLayoutId id="2147487212" r:id="rId48"/>
    <p:sldLayoutId id="2147487213" r:id="rId49"/>
    <p:sldLayoutId id="2147487214" r:id="rId50"/>
    <p:sldLayoutId id="2147487215" r:id="rId51"/>
    <p:sldLayoutId id="2147487220" r:id="rId52"/>
    <p:sldLayoutId id="2147487221" r:id="rId53"/>
    <p:sldLayoutId id="2147487222" r:id="rId54"/>
    <p:sldLayoutId id="2147487223" r:id="rId55"/>
    <p:sldLayoutId id="2147487224" r:id="rId56"/>
    <p:sldLayoutId id="2147487225" r:id="rId57"/>
    <p:sldLayoutId id="2147487226" r:id="rId58"/>
    <p:sldLayoutId id="2147487227" r:id="rId59"/>
    <p:sldLayoutId id="2147487228" r:id="rId60"/>
    <p:sldLayoutId id="2147487229" r:id="rId61"/>
    <p:sldLayoutId id="2147487058" r:id="rId62"/>
    <p:sldLayoutId id="2147487231" r:id="rId63"/>
    <p:sldLayoutId id="2147487232" r:id="rId64"/>
    <p:sldLayoutId id="2147487233" r:id="rId65"/>
    <p:sldLayoutId id="2147487234" r:id="rId66"/>
    <p:sldLayoutId id="2147487235" r:id="rId67"/>
    <p:sldLayoutId id="2147487236" r:id="rId68"/>
    <p:sldLayoutId id="2147487237" r:id="rId69"/>
    <p:sldLayoutId id="2147487059" r:id="rId70"/>
    <p:sldLayoutId id="2147487060" r:id="rId71"/>
    <p:sldLayoutId id="2147487061" r:id="rId72"/>
    <p:sldLayoutId id="2147487062" r:id="rId73"/>
    <p:sldLayoutId id="2147487242" r:id="rId74"/>
    <p:sldLayoutId id="2147487063" r:id="rId75"/>
    <p:sldLayoutId id="2147487244" r:id="rId76"/>
    <p:sldLayoutId id="2147487245" r:id="rId77"/>
    <p:sldLayoutId id="2147487246" r:id="rId78"/>
    <p:sldLayoutId id="2147487064" r:id="rId79"/>
    <p:sldLayoutId id="2147487248" r:id="rId80"/>
    <p:sldLayoutId id="2147487249" r:id="rId81"/>
    <p:sldLayoutId id="2147487250" r:id="rId82"/>
    <p:sldLayoutId id="2147487251" r:id="rId83"/>
    <p:sldLayoutId id="2147487252" r:id="rId84"/>
    <p:sldLayoutId id="2147487253" r:id="rId85"/>
    <p:sldLayoutId id="2147487065" r:id="rId86"/>
    <p:sldLayoutId id="2147487066" r:id="rId87"/>
    <p:sldLayoutId id="2147487067" r:id="rId88"/>
    <p:sldLayoutId id="2147487068" r:id="rId89"/>
    <p:sldLayoutId id="2147487069" r:id="rId90"/>
    <p:sldLayoutId id="2147487070" r:id="rId91"/>
    <p:sldLayoutId id="2147487071" r:id="rId92"/>
    <p:sldLayoutId id="2147487072" r:id="rId93"/>
    <p:sldLayoutId id="2147487073" r:id="rId94"/>
    <p:sldLayoutId id="2147487074" r:id="rId95"/>
    <p:sldLayoutId id="2147487075" r:id="rId96"/>
    <p:sldLayoutId id="2147487155" r:id="rId97"/>
    <p:sldLayoutId id="2147487265" r:id="rId98"/>
    <p:sldLayoutId id="2147487266" r:id="rId99"/>
    <p:sldLayoutId id="2147487076" r:id="rId100"/>
    <p:sldLayoutId id="2147487077" r:id="rId101"/>
    <p:sldLayoutId id="2147487078" r:id="rId102"/>
    <p:sldLayoutId id="2147487270" r:id="rId103"/>
    <p:sldLayoutId id="2147487271" r:id="rId104"/>
    <p:sldLayoutId id="2147487272" r:id="rId105"/>
    <p:sldLayoutId id="2147487273" r:id="rId106"/>
    <p:sldLayoutId id="2147487274" r:id="rId107"/>
    <p:sldLayoutId id="2147487275" r:id="rId108"/>
    <p:sldLayoutId id="2147487276" r:id="rId109"/>
    <p:sldLayoutId id="2147487277" r:id="rId110"/>
    <p:sldLayoutId id="2147487079" r:id="rId111"/>
    <p:sldLayoutId id="2147487080" r:id="rId112"/>
    <p:sldLayoutId id="2147487081" r:id="rId113"/>
    <p:sldLayoutId id="2147487082" r:id="rId114"/>
    <p:sldLayoutId id="2147487083" r:id="rId115"/>
    <p:sldLayoutId id="2147487084" r:id="rId116"/>
    <p:sldLayoutId id="2147487085" r:id="rId117"/>
    <p:sldLayoutId id="2147487086" r:id="rId118"/>
    <p:sldLayoutId id="2147487087" r:id="rId119"/>
    <p:sldLayoutId id="2147487088" r:id="rId120"/>
    <p:sldLayoutId id="2147487089" r:id="rId121"/>
    <p:sldLayoutId id="2147487090" r:id="rId122"/>
    <p:sldLayoutId id="2147487290" r:id="rId123"/>
    <p:sldLayoutId id="2147487291" r:id="rId124"/>
    <p:sldLayoutId id="2147487292" r:id="rId125"/>
    <p:sldLayoutId id="2147487294" r:id="rId126"/>
    <p:sldLayoutId id="2147487295" r:id="rId127"/>
    <p:sldLayoutId id="2147487296" r:id="rId128"/>
    <p:sldLayoutId id="2147487297" r:id="rId129"/>
    <p:sldLayoutId id="2147487298" r:id="rId130"/>
    <p:sldLayoutId id="2147487299" r:id="rId131"/>
    <p:sldLayoutId id="2147487300" r:id="rId132"/>
    <p:sldLayoutId id="2147487301" r:id="rId133"/>
    <p:sldLayoutId id="2147487092" r:id="rId134"/>
    <p:sldLayoutId id="2147487303" r:id="rId135"/>
    <p:sldLayoutId id="2147487304" r:id="rId136"/>
    <p:sldLayoutId id="2147487305" r:id="rId137"/>
    <p:sldLayoutId id="2147487306" r:id="rId138"/>
    <p:sldLayoutId id="2147487307" r:id="rId139"/>
    <p:sldLayoutId id="2147487308" r:id="rId140"/>
    <p:sldLayoutId id="2147487093" r:id="rId141"/>
    <p:sldLayoutId id="2147487310" r:id="rId142"/>
    <p:sldLayoutId id="2147487311" r:id="rId143"/>
    <p:sldLayoutId id="2147487096" r:id="rId144"/>
    <p:sldLayoutId id="2147487097" r:id="rId145"/>
    <p:sldLayoutId id="2147487098" r:id="rId146"/>
    <p:sldLayoutId id="2147487099" r:id="rId147"/>
    <p:sldLayoutId id="2147487320" r:id="rId148"/>
    <p:sldLayoutId id="2147488229" r:id="rId149"/>
    <p:sldLayoutId id="2147487104" r:id="rId150"/>
    <p:sldLayoutId id="2147487326" r:id="rId151"/>
    <p:sldLayoutId id="2147487105" r:id="rId152"/>
    <p:sldLayoutId id="2147487106" r:id="rId153"/>
    <p:sldLayoutId id="2147487107" r:id="rId154"/>
    <p:sldLayoutId id="2147487108" r:id="rId155"/>
    <p:sldLayoutId id="2147487109" r:id="rId156"/>
    <p:sldLayoutId id="2147487110" r:id="rId157"/>
    <p:sldLayoutId id="2147487111" r:id="rId158"/>
    <p:sldLayoutId id="2147487112" r:id="rId159"/>
    <p:sldLayoutId id="2147487113" r:id="rId160"/>
    <p:sldLayoutId id="2147487115" r:id="rId161"/>
    <p:sldLayoutId id="2147487116" r:id="rId162"/>
    <p:sldLayoutId id="2147487117" r:id="rId163"/>
    <p:sldLayoutId id="2147487118" r:id="rId164"/>
    <p:sldLayoutId id="2147487119" r:id="rId165"/>
    <p:sldLayoutId id="2147487120" r:id="rId166"/>
    <p:sldLayoutId id="2147487121" r:id="rId167"/>
    <p:sldLayoutId id="2147487122" r:id="rId168"/>
    <p:sldLayoutId id="2147487123" r:id="rId169"/>
    <p:sldLayoutId id="2147487346" r:id="rId170"/>
    <p:sldLayoutId id="2147487124" r:id="rId171"/>
    <p:sldLayoutId id="2147487348" r:id="rId172"/>
    <p:sldLayoutId id="2147487349" r:id="rId173"/>
    <p:sldLayoutId id="2147483847" r:id="rId174"/>
    <p:sldLayoutId id="2147483848" r:id="rId175"/>
    <p:sldLayoutId id="2147483849" r:id="rId176"/>
    <p:sldLayoutId id="2147483850" r:id="rId177"/>
    <p:sldLayoutId id="2147483851" r:id="rId178"/>
    <p:sldLayoutId id="2147483852" r:id="rId179"/>
    <p:sldLayoutId id="2147483853" r:id="rId180"/>
    <p:sldLayoutId id="2147483854" r:id="rId181"/>
    <p:sldLayoutId id="2147483855" r:id="rId182"/>
    <p:sldLayoutId id="2147483856" r:id="rId183"/>
    <p:sldLayoutId id="2147483857" r:id="rId184"/>
    <p:sldLayoutId id="2147483858" r:id="rId185"/>
    <p:sldLayoutId id="2147483859" r:id="rId186"/>
    <p:sldLayoutId id="2147487005" r:id="rId187"/>
    <p:sldLayoutId id="2147483861" r:id="rId188"/>
    <p:sldLayoutId id="2147483862" r:id="rId189"/>
    <p:sldLayoutId id="2147483863" r:id="rId190"/>
    <p:sldLayoutId id="2147483864" r:id="rId191"/>
    <p:sldLayoutId id="2147483865" r:id="rId192"/>
    <p:sldLayoutId id="2147483866" r:id="rId193"/>
    <p:sldLayoutId id="2147483867" r:id="rId194"/>
    <p:sldLayoutId id="2147483868" r:id="rId195"/>
    <p:sldLayoutId id="2147483869" r:id="rId196"/>
    <p:sldLayoutId id="2147483870" r:id="rId197"/>
    <p:sldLayoutId id="2147483871" r:id="rId198"/>
    <p:sldLayoutId id="2147483872" r:id="rId199"/>
    <p:sldLayoutId id="2147483873" r:id="rId200"/>
    <p:sldLayoutId id="2147483874" r:id="rId201"/>
    <p:sldLayoutId id="2147483875" r:id="rId202"/>
    <p:sldLayoutId id="2147483876" r:id="rId203"/>
    <p:sldLayoutId id="2147483877" r:id="rId204"/>
    <p:sldLayoutId id="2147483878" r:id="rId205"/>
    <p:sldLayoutId id="2147483879" r:id="rId206"/>
    <p:sldLayoutId id="2147483880" r:id="rId207"/>
    <p:sldLayoutId id="2147483881" r:id="rId208"/>
    <p:sldLayoutId id="2147483882" r:id="rId209"/>
    <p:sldLayoutId id="2147483883" r:id="rId210"/>
    <p:sldLayoutId id="2147483884" r:id="rId211"/>
    <p:sldLayoutId id="2147483885" r:id="rId212"/>
    <p:sldLayoutId id="2147483886" r:id="rId213"/>
    <p:sldLayoutId id="2147483887" r:id="rId214"/>
    <p:sldLayoutId id="2147483888" r:id="rId215"/>
    <p:sldLayoutId id="2147483889" r:id="rId216"/>
    <p:sldLayoutId id="2147483890" r:id="rId217"/>
    <p:sldLayoutId id="2147483891" r:id="rId218"/>
    <p:sldLayoutId id="2147483892" r:id="rId219"/>
    <p:sldLayoutId id="2147483893" r:id="rId220"/>
    <p:sldLayoutId id="2147483894" r:id="rId221"/>
    <p:sldLayoutId id="2147483895" r:id="rId222"/>
    <p:sldLayoutId id="2147483896" r:id="rId223"/>
    <p:sldLayoutId id="2147483897" r:id="rId224"/>
    <p:sldLayoutId id="2147483898" r:id="rId225"/>
    <p:sldLayoutId id="2147483899" r:id="rId226"/>
    <p:sldLayoutId id="2147483900" r:id="rId227"/>
    <p:sldLayoutId id="2147483901" r:id="rId228"/>
    <p:sldLayoutId id="2147483902" r:id="rId229"/>
    <p:sldLayoutId id="2147483903" r:id="rId230"/>
    <p:sldLayoutId id="2147483904" r:id="rId231"/>
    <p:sldLayoutId id="2147483905" r:id="rId232"/>
    <p:sldLayoutId id="2147483906" r:id="rId233"/>
    <p:sldLayoutId id="2147483907" r:id="rId234"/>
    <p:sldLayoutId id="2147487126" r:id="rId235"/>
    <p:sldLayoutId id="2147487128" r:id="rId236"/>
    <p:sldLayoutId id="2147487129" r:id="rId237"/>
    <p:sldLayoutId id="2147487127" r:id="rId238"/>
    <p:sldLayoutId id="2147487131" r:id="rId239"/>
    <p:sldLayoutId id="2147487132" r:id="rId240"/>
    <p:sldLayoutId id="2147487133" r:id="rId241"/>
    <p:sldLayoutId id="2147487134" r:id="rId242"/>
    <p:sldLayoutId id="2147487135" r:id="rId243"/>
    <p:sldLayoutId id="2147487136" r:id="rId244"/>
    <p:sldLayoutId id="2147487137" r:id="rId245"/>
    <p:sldLayoutId id="2147487138" r:id="rId246"/>
    <p:sldLayoutId id="2147487139" r:id="rId247"/>
    <p:sldLayoutId id="2147487140" r:id="rId248"/>
    <p:sldLayoutId id="2147487141" r:id="rId249"/>
    <p:sldLayoutId id="2147483927" r:id="rId250"/>
    <p:sldLayoutId id="2147483928" r:id="rId251"/>
    <p:sldLayoutId id="2147483929" r:id="rId252"/>
    <p:sldLayoutId id="2147483930" r:id="rId253"/>
    <p:sldLayoutId id="2147483931" r:id="rId254"/>
    <p:sldLayoutId id="2147488234" r:id="rId255"/>
    <p:sldLayoutId id="2147483933" r:id="rId256"/>
    <p:sldLayoutId id="2147483934" r:id="rId257"/>
    <p:sldLayoutId id="2147483935" r:id="rId258"/>
    <p:sldLayoutId id="2147483936" r:id="rId259"/>
    <p:sldLayoutId id="2147487130" r:id="rId260"/>
    <p:sldLayoutId id="2147483735" r:id="rId261"/>
    <p:sldLayoutId id="2147486987" r:id="rId262"/>
    <p:sldLayoutId id="2147487355" r:id="rId263"/>
    <p:sldLayoutId id="2147487369" r:id="rId264"/>
    <p:sldLayoutId id="2147487356" r:id="rId265"/>
    <p:sldLayoutId id="2147487357" r:id="rId266"/>
    <p:sldLayoutId id="2147487358" r:id="rId267"/>
    <p:sldLayoutId id="2147485074" r:id="rId268"/>
    <p:sldLayoutId id="2147485075" r:id="rId269"/>
    <p:sldLayoutId id="2147485076" r:id="rId270"/>
    <p:sldLayoutId id="2147485077" r:id="rId271"/>
    <p:sldLayoutId id="2147485078" r:id="rId272"/>
    <p:sldLayoutId id="2147484851" r:id="rId273"/>
    <p:sldLayoutId id="2147487362" r:id="rId274"/>
    <p:sldLayoutId id="2147487360" r:id="rId275"/>
    <p:sldLayoutId id="2147483736" r:id="rId276"/>
    <p:sldLayoutId id="2147487359" r:id="rId277"/>
    <p:sldLayoutId id="2147487361" r:id="rId278"/>
    <p:sldLayoutId id="2147483758" r:id="rId279"/>
    <p:sldLayoutId id="2147483759" r:id="rId280"/>
    <p:sldLayoutId id="2147483757" r:id="rId281"/>
    <p:sldLayoutId id="2147483764" r:id="rId282"/>
    <p:sldLayoutId id="2147483765" r:id="rId283"/>
    <p:sldLayoutId id="2147483766" r:id="rId284"/>
    <p:sldLayoutId id="2147487379" r:id="rId285"/>
    <p:sldLayoutId id="2147483739" r:id="rId286"/>
    <p:sldLayoutId id="2147483750" r:id="rId287"/>
    <p:sldLayoutId id="2147484627" r:id="rId288"/>
    <p:sldLayoutId id="2147485879" r:id="rId289"/>
    <p:sldLayoutId id="2147484838" r:id="rId290"/>
    <p:sldLayoutId id="2147485857" r:id="rId291"/>
    <p:sldLayoutId id="2147485858" r:id="rId292"/>
    <p:sldLayoutId id="2147485859" r:id="rId293"/>
    <p:sldLayoutId id="2147485860" r:id="rId294"/>
    <p:sldLayoutId id="2147485861" r:id="rId295"/>
    <p:sldLayoutId id="2147484634" r:id="rId296"/>
    <p:sldLayoutId id="2147484635" r:id="rId297"/>
    <p:sldLayoutId id="2147484238" r:id="rId298"/>
    <p:sldLayoutId id="2147486915" r:id="rId299"/>
    <p:sldLayoutId id="2147484840" r:id="rId300"/>
    <p:sldLayoutId id="2147486917" r:id="rId301"/>
    <p:sldLayoutId id="2147484203" r:id="rId302"/>
    <p:sldLayoutId id="2147484204" r:id="rId303"/>
    <p:sldLayoutId id="2147484205" r:id="rId304"/>
    <p:sldLayoutId id="2147484206" r:id="rId305"/>
    <p:sldLayoutId id="2147484237" r:id="rId306"/>
    <p:sldLayoutId id="2147484208" r:id="rId307"/>
    <p:sldLayoutId id="2147485064" r:id="rId308"/>
    <p:sldLayoutId id="2147485065" r:id="rId309"/>
    <p:sldLayoutId id="2147486965" r:id="rId310"/>
    <p:sldLayoutId id="2147485066" r:id="rId311"/>
    <p:sldLayoutId id="2147485067" r:id="rId312"/>
    <p:sldLayoutId id="2147485068" r:id="rId313"/>
    <p:sldLayoutId id="2147485069" r:id="rId314"/>
    <p:sldLayoutId id="2147485352" r:id="rId315"/>
    <p:sldLayoutId id="2147485070" r:id="rId316"/>
    <p:sldLayoutId id="2147486030" r:id="rId317"/>
    <p:sldLayoutId id="2147485071" r:id="rId318"/>
    <p:sldLayoutId id="2147487168" r:id="rId319"/>
    <p:sldLayoutId id="2147484626" r:id="rId320"/>
    <p:sldLayoutId id="2147484836" r:id="rId321"/>
    <p:sldLayoutId id="2147484837" r:id="rId322"/>
    <p:sldLayoutId id="2147487169" r:id="rId323"/>
    <p:sldLayoutId id="2147484602" r:id="rId324"/>
    <p:sldLayoutId id="2147484603" r:id="rId325"/>
    <p:sldLayoutId id="2147484604" r:id="rId326"/>
    <p:sldLayoutId id="2147484839" r:id="rId327"/>
    <p:sldLayoutId id="2147485847" r:id="rId328"/>
    <p:sldLayoutId id="2147485848" r:id="rId329"/>
    <p:sldLayoutId id="2147485849" r:id="rId330"/>
    <p:sldLayoutId id="2147485850" r:id="rId331"/>
    <p:sldLayoutId id="2147485851" r:id="rId332"/>
    <p:sldLayoutId id="2147485852" r:id="rId333"/>
    <p:sldLayoutId id="2147485853" r:id="rId334"/>
    <p:sldLayoutId id="2147485854" r:id="rId335"/>
    <p:sldLayoutId id="2147485855" r:id="rId336"/>
    <p:sldLayoutId id="2147485856" r:id="rId337"/>
    <p:sldLayoutId id="2147484384" r:id="rId338"/>
    <p:sldLayoutId id="2147485405" r:id="rId339"/>
    <p:sldLayoutId id="2147484559" r:id="rId340"/>
    <p:sldLayoutId id="2147484385" r:id="rId341"/>
    <p:sldLayoutId id="2147485406" r:id="rId342"/>
    <p:sldLayoutId id="2147484387" r:id="rId343"/>
    <p:sldLayoutId id="2147484388" r:id="rId344"/>
    <p:sldLayoutId id="2147484389" r:id="rId345"/>
    <p:sldLayoutId id="2147484390" r:id="rId346"/>
    <p:sldLayoutId id="2147484391" r:id="rId347"/>
    <p:sldLayoutId id="2147484392" r:id="rId348"/>
    <p:sldLayoutId id="2147486953" r:id="rId349"/>
    <p:sldLayoutId id="2147486205" r:id="rId350"/>
    <p:sldLayoutId id="2147486206" r:id="rId351"/>
    <p:sldLayoutId id="2147486207" r:id="rId352"/>
    <p:sldLayoutId id="2147486208" r:id="rId353"/>
    <p:sldLayoutId id="2147486209" r:id="rId354"/>
    <p:sldLayoutId id="2147484766" r:id="rId355"/>
    <p:sldLayoutId id="2147486426" r:id="rId356"/>
    <p:sldLayoutId id="2147486404" r:id="rId357"/>
    <p:sldLayoutId id="2147484767" r:id="rId358"/>
    <p:sldLayoutId id="2147486405" r:id="rId359"/>
    <p:sldLayoutId id="2147486406" r:id="rId360"/>
    <p:sldLayoutId id="2147486407" r:id="rId361"/>
    <p:sldLayoutId id="2147486408" r:id="rId362"/>
    <p:sldLayoutId id="2147486409" r:id="rId363"/>
    <p:sldLayoutId id="2147484768" r:id="rId364"/>
    <p:sldLayoutId id="2147486428" r:id="rId365"/>
    <p:sldLayoutId id="2147486200" r:id="rId366"/>
    <p:sldLayoutId id="2147486201" r:id="rId367"/>
    <p:sldLayoutId id="2147486202" r:id="rId368"/>
    <p:sldLayoutId id="2147486989" r:id="rId369"/>
    <p:sldLayoutId id="2147486203" r:id="rId370"/>
    <p:sldLayoutId id="2147484842" r:id="rId371"/>
    <p:sldLayoutId id="2147483751" r:id="rId372"/>
    <p:sldLayoutId id="2147483760" r:id="rId373"/>
    <p:sldLayoutId id="2147485878" r:id="rId374"/>
    <p:sldLayoutId id="2147484654" r:id="rId375"/>
    <p:sldLayoutId id="2147484655" r:id="rId376"/>
    <p:sldLayoutId id="2147484608" r:id="rId377"/>
    <p:sldLayoutId id="2147485213" r:id="rId378"/>
    <p:sldLayoutId id="2147485214" r:id="rId379"/>
    <p:sldLayoutId id="2147485179" r:id="rId380"/>
    <p:sldLayoutId id="2147485354" r:id="rId381"/>
    <p:sldLayoutId id="2147486926" r:id="rId382"/>
    <p:sldLayoutId id="2147486360" r:id="rId383"/>
    <p:sldLayoutId id="2147485556" r:id="rId384"/>
    <p:sldLayoutId id="2147486361" r:id="rId385"/>
    <p:sldLayoutId id="2147488236" r:id="rId386"/>
    <p:sldLayoutId id="2147487375" r:id="rId387"/>
    <p:sldLayoutId id="2147484335" r:id="rId388"/>
    <p:sldLayoutId id="2147484336" r:id="rId389"/>
    <p:sldLayoutId id="2147484337" r:id="rId390"/>
    <p:sldLayoutId id="2147484853" r:id="rId391"/>
    <p:sldLayoutId id="2147484339" r:id="rId392"/>
    <p:sldLayoutId id="2147484340" r:id="rId393"/>
    <p:sldLayoutId id="2147484341" r:id="rId394"/>
    <p:sldLayoutId id="2147484342" r:id="rId395"/>
    <p:sldLayoutId id="2147484343" r:id="rId396"/>
    <p:sldLayoutId id="2147484344" r:id="rId397"/>
    <p:sldLayoutId id="2147485468" r:id="rId398"/>
    <p:sldLayoutId id="2147485865" r:id="rId399"/>
    <p:sldLayoutId id="2147484364" r:id="rId400"/>
    <p:sldLayoutId id="2147485358" r:id="rId401"/>
    <p:sldLayoutId id="2147485868" r:id="rId402"/>
    <p:sldLayoutId id="2147485869" r:id="rId403"/>
    <p:sldLayoutId id="2147485870" r:id="rId404"/>
    <p:sldLayoutId id="2147485385" r:id="rId405"/>
    <p:sldLayoutId id="2147485871" r:id="rId406"/>
    <p:sldLayoutId id="2147485469" r:id="rId407"/>
    <p:sldLayoutId id="2147484570" r:id="rId408"/>
    <p:sldLayoutId id="2147484222" r:id="rId409"/>
    <p:sldLayoutId id="2147484854" r:id="rId410"/>
    <p:sldLayoutId id="2147484855" r:id="rId411"/>
    <p:sldLayoutId id="2147485079" r:id="rId412"/>
    <p:sldLayoutId id="2147485080" r:id="rId413"/>
    <p:sldLayoutId id="2147485081" r:id="rId414"/>
    <p:sldLayoutId id="2147485082" r:id="rId415"/>
    <p:sldLayoutId id="2147485083" r:id="rId416"/>
    <p:sldLayoutId id="2147484596" r:id="rId417"/>
    <p:sldLayoutId id="2147484835" r:id="rId418"/>
    <p:sldLayoutId id="2147484353" r:id="rId419"/>
    <p:sldLayoutId id="2147484852" r:id="rId420"/>
    <p:sldLayoutId id="2147485093" r:id="rId421"/>
    <p:sldLayoutId id="2147486929" r:id="rId422"/>
    <p:sldLayoutId id="2147485072" r:id="rId423"/>
    <p:sldLayoutId id="2147485355" r:id="rId424"/>
    <p:sldLayoutId id="2147487365" r:id="rId425"/>
    <p:sldLayoutId id="2147484355" r:id="rId426"/>
    <p:sldLayoutId id="2147485444" r:id="rId427"/>
    <p:sldLayoutId id="2147484356" r:id="rId428"/>
    <p:sldLayoutId id="2147483860" r:id="rId429"/>
    <p:sldLayoutId id="2147486993" r:id="rId430"/>
    <p:sldLayoutId id="2147484357" r:id="rId431"/>
    <p:sldLayoutId id="2147484358" r:id="rId432"/>
    <p:sldLayoutId id="2147484359" r:id="rId433"/>
    <p:sldLayoutId id="2147484360" r:id="rId434"/>
    <p:sldLayoutId id="2147484361" r:id="rId435"/>
    <p:sldLayoutId id="2147484393" r:id="rId436"/>
    <p:sldLayoutId id="2147484394" r:id="rId437"/>
    <p:sldLayoutId id="2147486423" r:id="rId438"/>
    <p:sldLayoutId id="2147486950" r:id="rId439"/>
    <p:sldLayoutId id="2147484845" r:id="rId440"/>
    <p:sldLayoutId id="2147484846" r:id="rId441"/>
    <p:sldLayoutId id="2147484566" r:id="rId442"/>
    <p:sldLayoutId id="2147485470" r:id="rId443"/>
    <p:sldLayoutId id="2147484231" r:id="rId444"/>
    <p:sldLayoutId id="2147484268" r:id="rId445"/>
    <p:sldLayoutId id="2147484235" r:id="rId446"/>
    <p:sldLayoutId id="2147484847" r:id="rId447"/>
    <p:sldLayoutId id="2147484245" r:id="rId448"/>
    <p:sldLayoutId id="2147484262" r:id="rId449"/>
    <p:sldLayoutId id="2147486955" r:id="rId450"/>
    <p:sldLayoutId id="2147485238" r:id="rId451"/>
    <p:sldLayoutId id="2147486956" r:id="rId452"/>
    <p:sldLayoutId id="2147484233" r:id="rId453"/>
    <p:sldLayoutId id="2147486948" r:id="rId454"/>
    <p:sldLayoutId id="2147484774" r:id="rId455"/>
    <p:sldLayoutId id="2147484775" r:id="rId456"/>
    <p:sldLayoutId id="2147486425" r:id="rId457"/>
    <p:sldLayoutId id="2147484776" r:id="rId458"/>
    <p:sldLayoutId id="2147484777" r:id="rId459"/>
    <p:sldLayoutId id="2147486387" r:id="rId460"/>
    <p:sldLayoutId id="2147486389" r:id="rId461"/>
    <p:sldLayoutId id="2147486391" r:id="rId462"/>
    <p:sldLayoutId id="2147486949" r:id="rId463"/>
    <p:sldLayoutId id="2147486424" r:id="rId464"/>
    <p:sldLayoutId id="2147484821" r:id="rId465"/>
    <p:sldLayoutId id="2147486952" r:id="rId466"/>
    <p:sldLayoutId id="2147485239" r:id="rId467"/>
    <p:sldLayoutId id="2147484848" r:id="rId468"/>
    <p:sldLayoutId id="2147486048" r:id="rId469"/>
    <p:sldLayoutId id="2147486954" r:id="rId470"/>
    <p:sldLayoutId id="2147484400" r:id="rId471"/>
    <p:sldLayoutId id="2147484401" r:id="rId472"/>
    <p:sldLayoutId id="2147484402" r:id="rId473"/>
    <p:sldLayoutId id="2147484822" r:id="rId474"/>
    <p:sldLayoutId id="2147486251" r:id="rId475"/>
    <p:sldLayoutId id="2147484849" r:id="rId476"/>
    <p:sldLayoutId id="2147484850" r:id="rId477"/>
    <p:sldLayoutId id="2147484334" r:id="rId478"/>
    <p:sldLayoutId id="2147487351" r:id="rId479"/>
    <p:sldLayoutId id="2147486990" r:id="rId480"/>
    <p:sldLayoutId id="2147484585" r:id="rId481"/>
    <p:sldLayoutId id="2147484586" r:id="rId482"/>
    <p:sldLayoutId id="2147484587" r:id="rId483"/>
    <p:sldLayoutId id="2147484588" r:id="rId484"/>
    <p:sldLayoutId id="2147484592" r:id="rId485"/>
    <p:sldLayoutId id="2147484593" r:id="rId486"/>
    <p:sldLayoutId id="2147484594" r:id="rId487"/>
    <p:sldLayoutId id="2147487156" r:id="rId488"/>
    <p:sldLayoutId id="2147485370" r:id="rId489"/>
    <p:sldLayoutId id="2147485872" r:id="rId490"/>
    <p:sldLayoutId id="2147486927" r:id="rId491"/>
    <p:sldLayoutId id="2147485367" r:id="rId492"/>
    <p:sldLayoutId id="2147485368" r:id="rId493"/>
    <p:sldLayoutId id="2147485369" r:id="rId494"/>
    <p:sldLayoutId id="2147485400" r:id="rId495"/>
    <p:sldLayoutId id="2147485401" r:id="rId496"/>
    <p:sldLayoutId id="2147485402" r:id="rId497"/>
    <p:sldLayoutId id="2147485403" r:id="rId498"/>
    <p:sldLayoutId id="2147486221" r:id="rId499"/>
    <p:sldLayoutId id="2147483752" r:id="rId500"/>
    <p:sldLayoutId id="2147483753" r:id="rId501"/>
    <p:sldLayoutId id="2147483754" r:id="rId502"/>
    <p:sldLayoutId id="2147483755" r:id="rId503"/>
    <p:sldLayoutId id="2147484386" r:id="rId504"/>
    <p:sldLayoutId id="2147484815" r:id="rId505"/>
    <p:sldLayoutId id="2147484816" r:id="rId506"/>
    <p:sldLayoutId id="2147484817" r:id="rId507"/>
    <p:sldLayoutId id="2147484329" r:id="rId508"/>
    <p:sldLayoutId id="2147486396" r:id="rId509"/>
    <p:sldLayoutId id="2147486397" r:id="rId510"/>
    <p:sldLayoutId id="2147486418" r:id="rId511"/>
    <p:sldLayoutId id="2147484330" r:id="rId512"/>
    <p:sldLayoutId id="2147484331" r:id="rId513"/>
    <p:sldLayoutId id="2147484332" r:id="rId514"/>
    <p:sldLayoutId id="2147484485" r:id="rId515"/>
    <p:sldLayoutId id="2147484486" r:id="rId516"/>
    <p:sldLayoutId id="2147484609" r:id="rId517"/>
    <p:sldLayoutId id="2147484477" r:id="rId518"/>
    <p:sldLayoutId id="2147484478" r:id="rId519"/>
    <p:sldLayoutId id="2147484260" r:id="rId520"/>
    <p:sldLayoutId id="2147484856" r:id="rId521"/>
    <p:sldLayoutId id="2147484480" r:id="rId522"/>
    <p:sldLayoutId id="2147484267" r:id="rId523"/>
    <p:sldLayoutId id="2147484481" r:id="rId524"/>
    <p:sldLayoutId id="2147484482" r:id="rId525"/>
    <p:sldLayoutId id="2147484483" r:id="rId526"/>
    <p:sldLayoutId id="2147484484" r:id="rId527"/>
    <p:sldLayoutId id="2147485270" r:id="rId528"/>
    <p:sldLayoutId id="2147485271" r:id="rId529"/>
    <p:sldLayoutId id="2147485272" r:id="rId530"/>
    <p:sldLayoutId id="2147484857" r:id="rId531"/>
    <p:sldLayoutId id="2147485273" r:id="rId532"/>
    <p:sldLayoutId id="2147485274" r:id="rId533"/>
    <p:sldLayoutId id="2147485275" r:id="rId534"/>
    <p:sldLayoutId id="2147485276" r:id="rId535"/>
    <p:sldLayoutId id="2147485277" r:id="rId536"/>
    <p:sldLayoutId id="2147485278" r:id="rId537"/>
    <p:sldLayoutId id="2147486991" r:id="rId538"/>
    <p:sldLayoutId id="2147486992" r:id="rId539"/>
    <p:sldLayoutId id="2147486252" r:id="rId540"/>
    <p:sldLayoutId id="2147486253" r:id="rId541"/>
    <p:sldLayoutId id="2147486363" r:id="rId542"/>
    <p:sldLayoutId id="2147487006" r:id="rId543"/>
    <p:sldLayoutId id="2147486364" r:id="rId544"/>
    <p:sldLayoutId id="2147486365" r:id="rId545"/>
    <p:sldLayoutId id="2147487007" r:id="rId546"/>
    <p:sldLayoutId id="2147483940" r:id="rId547"/>
    <p:sldLayoutId id="2147486366" r:id="rId548"/>
    <p:sldLayoutId id="2147486367" r:id="rId549"/>
    <p:sldLayoutId id="2147486368" r:id="rId550"/>
    <p:sldLayoutId id="2147486369" r:id="rId551"/>
    <p:sldLayoutId id="2147483944" r:id="rId552"/>
    <p:sldLayoutId id="2147483945" r:id="rId553"/>
    <p:sldLayoutId id="2147483949" r:id="rId554"/>
    <p:sldLayoutId id="2147483953" r:id="rId555"/>
    <p:sldLayoutId id="2147483954" r:id="rId556"/>
    <p:sldLayoutId id="2147483955" r:id="rId557"/>
    <p:sldLayoutId id="2147483960" r:id="rId558"/>
    <p:sldLayoutId id="2147483967" r:id="rId559"/>
    <p:sldLayoutId id="2147483968" r:id="rId560"/>
    <p:sldLayoutId id="2147483969" r:id="rId561"/>
    <p:sldLayoutId id="2147483970" r:id="rId562"/>
    <p:sldLayoutId id="2147483971" r:id="rId563"/>
    <p:sldLayoutId id="2147483972" r:id="rId564"/>
    <p:sldLayoutId id="2147483973" r:id="rId565"/>
    <p:sldLayoutId id="2147483974" r:id="rId566"/>
    <p:sldLayoutId id="2147483975" r:id="rId567"/>
    <p:sldLayoutId id="2147488230" r:id="rId568"/>
    <p:sldLayoutId id="2147488231" r:id="rId569"/>
    <p:sldLayoutId id="2147488232" r:id="rId570"/>
    <p:sldLayoutId id="2147488233" r:id="rId571"/>
    <p:sldLayoutId id="2147483976" r:id="rId572"/>
    <p:sldLayoutId id="2147483977" r:id="rId573"/>
    <p:sldLayoutId id="2147483978" r:id="rId574"/>
    <p:sldLayoutId id="2147483980" r:id="rId575"/>
    <p:sldLayoutId id="2147483981" r:id="rId576"/>
    <p:sldLayoutId id="2147483982" r:id="rId577"/>
    <p:sldLayoutId id="2147488237" r:id="rId578"/>
    <p:sldLayoutId id="2147483983" r:id="rId579"/>
    <p:sldLayoutId id="2147483984" r:id="rId580"/>
    <p:sldLayoutId id="2147483985" r:id="rId581"/>
    <p:sldLayoutId id="2147483986" r:id="rId582"/>
    <p:sldLayoutId id="2147483987" r:id="rId583"/>
    <p:sldLayoutId id="2147483988" r:id="rId584"/>
    <p:sldLayoutId id="2147483989" r:id="rId585"/>
    <p:sldLayoutId id="2147483990" r:id="rId586"/>
    <p:sldLayoutId id="2147483991" r:id="rId587"/>
    <p:sldLayoutId id="2147483992" r:id="rId588"/>
    <p:sldLayoutId id="2147483993" r:id="rId589"/>
    <p:sldLayoutId id="2147483994" r:id="rId590"/>
    <p:sldLayoutId id="2147483995" r:id="rId591"/>
    <p:sldLayoutId id="2147483996" r:id="rId592"/>
    <p:sldLayoutId id="2147483997" r:id="rId593"/>
    <p:sldLayoutId id="2147483998" r:id="rId594"/>
    <p:sldLayoutId id="2147483999" r:id="rId595"/>
    <p:sldLayoutId id="2147484000" r:id="rId596"/>
    <p:sldLayoutId id="2147484001" r:id="rId597"/>
    <p:sldLayoutId id="2147484652" r:id="rId598"/>
    <p:sldLayoutId id="2147484653" r:id="rId599"/>
    <p:sldLayoutId id="2147487008" r:id="rId600"/>
    <p:sldLayoutId id="2147487009" r:id="rId601"/>
    <p:sldLayoutId id="2147487010" r:id="rId602"/>
    <p:sldLayoutId id="2147488238" r:id="rId603"/>
    <p:sldLayoutId id="2147487011" r:id="rId604"/>
    <p:sldLayoutId id="2147487012" r:id="rId605"/>
    <p:sldLayoutId id="2147487013" r:id="rId606"/>
    <p:sldLayoutId id="2147484999" r:id="rId607"/>
    <p:sldLayoutId id="2147485001" r:id="rId608"/>
    <p:sldLayoutId id="2147485002" r:id="rId609"/>
    <p:sldLayoutId id="2147485006" r:id="rId610"/>
    <p:sldLayoutId id="2147485007" r:id="rId611"/>
    <p:sldLayoutId id="2147485008" r:id="rId612"/>
    <p:sldLayoutId id="2147488239" r:id="rId613"/>
    <p:sldLayoutId id="2147485877" r:id="rId614"/>
    <p:sldLayoutId id="2147486419" r:id="rId615"/>
    <p:sldLayoutId id="2147486079" r:id="rId616"/>
    <p:sldLayoutId id="2147483677" r:id="rId617"/>
    <p:sldLayoutId id="2147487353" r:id="rId618"/>
    <p:sldLayoutId id="2147487354" r:id="rId619"/>
    <p:sldLayoutId id="2147485215" r:id="rId620"/>
    <p:sldLayoutId id="2147485425" r:id="rId621"/>
    <p:sldLayoutId id="2147485903" r:id="rId622"/>
    <p:sldLayoutId id="2147485904" r:id="rId623"/>
    <p:sldLayoutId id="2147484354" r:id="rId624"/>
    <p:sldLayoutId id="2147484572" r:id="rId625"/>
    <p:sldLayoutId id="2147485391" r:id="rId626"/>
    <p:sldLayoutId id="2147485392" r:id="rId627"/>
    <p:sldLayoutId id="2147484376" r:id="rId628"/>
    <p:sldLayoutId id="2147485905" r:id="rId629"/>
    <p:sldLayoutId id="2147485906" r:id="rId630"/>
    <p:sldLayoutId id="2147485880" r:id="rId631"/>
    <p:sldLayoutId id="2147485393" r:id="rId632"/>
    <p:sldLayoutId id="2147485394" r:id="rId633"/>
    <p:sldLayoutId id="2147485395" r:id="rId634"/>
    <p:sldLayoutId id="2147486284" r:id="rId635"/>
    <p:sldLayoutId id="2147484378" r:id="rId636"/>
    <p:sldLayoutId id="2147484379" r:id="rId637"/>
    <p:sldLayoutId id="2147485396" r:id="rId638"/>
    <p:sldLayoutId id="2147488079" r:id="rId639"/>
    <p:sldLayoutId id="2147488240" r:id="rId640"/>
    <p:sldLayoutId id="2147488241" r:id="rId64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C4D5360-9264-E02E-B93F-351D5C601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D3ECC3-1394-E95A-027E-2876691BBD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6C17B8-B082-77F0-1EE9-3B2F04067B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DF18F7-FB39-4683-A00D-1292A1BA6FD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E991F3-73F3-ECE0-4AB8-B8F8667B61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5A659-5F12-760F-A44C-489F2533AC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7772B1-BFEB-4E30-B57B-BDFD3ED0D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031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svg"/><Relationship Id="rId13" Type="http://schemas.openxmlformats.org/officeDocument/2006/relationships/image" Target="../media/image147.png"/><Relationship Id="rId18" Type="http://schemas.openxmlformats.org/officeDocument/2006/relationships/image" Target="../media/image152.png"/><Relationship Id="rId3" Type="http://schemas.openxmlformats.org/officeDocument/2006/relationships/image" Target="../media/image137.png"/><Relationship Id="rId7" Type="http://schemas.openxmlformats.org/officeDocument/2006/relationships/image" Target="../media/image141.png"/><Relationship Id="rId12" Type="http://schemas.openxmlformats.org/officeDocument/2006/relationships/image" Target="../media/image146.svg"/><Relationship Id="rId17" Type="http://schemas.openxmlformats.org/officeDocument/2006/relationships/image" Target="../media/image151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5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0.svg"/><Relationship Id="rId11" Type="http://schemas.openxmlformats.org/officeDocument/2006/relationships/image" Target="../media/image145.png"/><Relationship Id="rId5" Type="http://schemas.openxmlformats.org/officeDocument/2006/relationships/image" Target="../media/image139.png"/><Relationship Id="rId15" Type="http://schemas.openxmlformats.org/officeDocument/2006/relationships/image" Target="../media/image149.png"/><Relationship Id="rId10" Type="http://schemas.openxmlformats.org/officeDocument/2006/relationships/image" Target="../media/image144.svg"/><Relationship Id="rId4" Type="http://schemas.openxmlformats.org/officeDocument/2006/relationships/image" Target="../media/image138.svg"/><Relationship Id="rId9" Type="http://schemas.openxmlformats.org/officeDocument/2006/relationships/image" Target="../media/image143.png"/><Relationship Id="rId14" Type="http://schemas.openxmlformats.org/officeDocument/2006/relationships/image" Target="../media/image148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13" Type="http://schemas.openxmlformats.org/officeDocument/2006/relationships/image" Target="../media/image161.svg"/><Relationship Id="rId3" Type="http://schemas.openxmlformats.org/officeDocument/2006/relationships/image" Target="../media/image151.svg"/><Relationship Id="rId7" Type="http://schemas.openxmlformats.org/officeDocument/2006/relationships/image" Target="../media/image156.svg"/><Relationship Id="rId12" Type="http://schemas.openxmlformats.org/officeDocument/2006/relationships/image" Target="../media/image160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5.png"/><Relationship Id="rId11" Type="http://schemas.openxmlformats.org/officeDocument/2006/relationships/image" Target="../media/image159.png"/><Relationship Id="rId5" Type="http://schemas.openxmlformats.org/officeDocument/2006/relationships/image" Target="../media/image154.svg"/><Relationship Id="rId10" Type="http://schemas.openxmlformats.org/officeDocument/2006/relationships/image" Target="../media/image158.svg"/><Relationship Id="rId4" Type="http://schemas.openxmlformats.org/officeDocument/2006/relationships/image" Target="../media/image153.png"/><Relationship Id="rId9" Type="http://schemas.openxmlformats.org/officeDocument/2006/relationships/image" Target="../media/image14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svg"/><Relationship Id="rId13" Type="http://schemas.openxmlformats.org/officeDocument/2006/relationships/image" Target="../media/image168.png"/><Relationship Id="rId18" Type="http://schemas.openxmlformats.org/officeDocument/2006/relationships/image" Target="../media/image173.svg"/><Relationship Id="rId3" Type="http://schemas.openxmlformats.org/officeDocument/2006/relationships/image" Target="../media/image137.png"/><Relationship Id="rId7" Type="http://schemas.openxmlformats.org/officeDocument/2006/relationships/image" Target="../media/image162.png"/><Relationship Id="rId12" Type="http://schemas.openxmlformats.org/officeDocument/2006/relationships/image" Target="../media/image167.svg"/><Relationship Id="rId17" Type="http://schemas.openxmlformats.org/officeDocument/2006/relationships/image" Target="../media/image17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71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2.svg"/><Relationship Id="rId11" Type="http://schemas.openxmlformats.org/officeDocument/2006/relationships/image" Target="../media/image166.png"/><Relationship Id="rId5" Type="http://schemas.openxmlformats.org/officeDocument/2006/relationships/image" Target="../media/image141.png"/><Relationship Id="rId15" Type="http://schemas.openxmlformats.org/officeDocument/2006/relationships/image" Target="../media/image170.png"/><Relationship Id="rId10" Type="http://schemas.openxmlformats.org/officeDocument/2006/relationships/image" Target="../media/image165.svg"/><Relationship Id="rId4" Type="http://schemas.openxmlformats.org/officeDocument/2006/relationships/image" Target="../media/image138.svg"/><Relationship Id="rId9" Type="http://schemas.openxmlformats.org/officeDocument/2006/relationships/image" Target="../media/image164.png"/><Relationship Id="rId14" Type="http://schemas.openxmlformats.org/officeDocument/2006/relationships/image" Target="../media/image169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png"/><Relationship Id="rId13" Type="http://schemas.openxmlformats.org/officeDocument/2006/relationships/image" Target="../media/image179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178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82.png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77.sv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181.svg"/><Relationship Id="rId10" Type="http://schemas.openxmlformats.org/officeDocument/2006/relationships/image" Target="../media/image176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75.svg"/><Relationship Id="rId14" Type="http://schemas.openxmlformats.org/officeDocument/2006/relationships/image" Target="../media/image18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85.svg"/><Relationship Id="rId4" Type="http://schemas.openxmlformats.org/officeDocument/2006/relationships/image" Target="../media/image18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9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93.png"/><Relationship Id="rId5" Type="http://schemas.openxmlformats.org/officeDocument/2006/relationships/image" Target="../media/image192.svg"/><Relationship Id="rId4" Type="http://schemas.openxmlformats.org/officeDocument/2006/relationships/image" Target="../media/image19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image" Target="../media/image194.jpeg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sites.google.com/picturemotion.com/aftershock-website-toolkit/home" TargetMode="External"/><Relationship Id="rId5" Type="http://schemas.openxmlformats.org/officeDocument/2006/relationships/image" Target="../media/image100.png"/><Relationship Id="rId4" Type="http://schemas.openxmlformats.org/officeDocument/2006/relationships/image" Target="../media/image192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96.png"/><Relationship Id="rId4" Type="http://schemas.openxmlformats.org/officeDocument/2006/relationships/image" Target="../media/image192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.aboveboard.com/dei-discussion-question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4" Type="http://schemas.openxmlformats.org/officeDocument/2006/relationships/hyperlink" Target="https://www.nature.com/articles/s41372-023-01856-5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svg"/><Relationship Id="rId3" Type="http://schemas.openxmlformats.org/officeDocument/2006/relationships/image" Target="../media/image197.png"/><Relationship Id="rId7" Type="http://schemas.openxmlformats.org/officeDocument/2006/relationships/image" Target="../media/image19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6.svg"/><Relationship Id="rId5" Type="http://schemas.openxmlformats.org/officeDocument/2006/relationships/image" Target="../media/image155.png"/><Relationship Id="rId4" Type="http://schemas.openxmlformats.org/officeDocument/2006/relationships/image" Target="../media/image19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150.png"/><Relationship Id="rId7" Type="http://schemas.openxmlformats.org/officeDocument/2006/relationships/diagramQuickStyle" Target="../diagrams/quickStyle3.xml"/><Relationship Id="rId12" Type="http://schemas.openxmlformats.org/officeDocument/2006/relationships/image" Target="../media/image20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10" Type="http://schemas.openxmlformats.org/officeDocument/2006/relationships/customXml" Target="../ink/ink1.xml"/><Relationship Id="rId4" Type="http://schemas.openxmlformats.org/officeDocument/2006/relationships/image" Target="../media/image151.svg"/><Relationship Id="rId9" Type="http://schemas.microsoft.com/office/2007/relationships/diagramDrawing" Target="../diagrams/drawing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5.png"/><Relationship Id="rId3" Type="http://schemas.openxmlformats.org/officeDocument/2006/relationships/image" Target="../media/image202.png"/><Relationship Id="rId7" Type="http://schemas.openxmlformats.org/officeDocument/2006/relationships/image" Target="../media/image156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5.png"/><Relationship Id="rId5" Type="http://schemas.openxmlformats.org/officeDocument/2006/relationships/image" Target="../media/image204.png"/><Relationship Id="rId10" Type="http://schemas.openxmlformats.org/officeDocument/2006/relationships/image" Target="../media/image200.svg"/><Relationship Id="rId4" Type="http://schemas.openxmlformats.org/officeDocument/2006/relationships/image" Target="../media/image203.png"/><Relationship Id="rId9" Type="http://schemas.openxmlformats.org/officeDocument/2006/relationships/image" Target="../media/image19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9.png"/><Relationship Id="rId3" Type="http://schemas.openxmlformats.org/officeDocument/2006/relationships/image" Target="../media/image205.png"/><Relationship Id="rId7" Type="http://schemas.openxmlformats.org/officeDocument/2006/relationships/image" Target="../media/image208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7.png"/><Relationship Id="rId5" Type="http://schemas.openxmlformats.org/officeDocument/2006/relationships/image" Target="../media/image206.png"/><Relationship Id="rId4" Type="http://schemas.openxmlformats.org/officeDocument/2006/relationships/image" Target="../media/image10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png"/><Relationship Id="rId13" Type="http://schemas.openxmlformats.org/officeDocument/2006/relationships/image" Target="../media/image179.sv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openxmlformats.org/officeDocument/2006/relationships/image" Target="../media/image178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8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177.svg"/><Relationship Id="rId5" Type="http://schemas.openxmlformats.org/officeDocument/2006/relationships/diagramQuickStyle" Target="../diagrams/quickStyle4.xml"/><Relationship Id="rId15" Type="http://schemas.openxmlformats.org/officeDocument/2006/relationships/image" Target="../media/image181.svg"/><Relationship Id="rId10" Type="http://schemas.openxmlformats.org/officeDocument/2006/relationships/image" Target="../media/image176.png"/><Relationship Id="rId4" Type="http://schemas.openxmlformats.org/officeDocument/2006/relationships/diagramLayout" Target="../diagrams/layout4.xml"/><Relationship Id="rId9" Type="http://schemas.openxmlformats.org/officeDocument/2006/relationships/image" Target="../media/image175.svg"/><Relationship Id="rId14" Type="http://schemas.openxmlformats.org/officeDocument/2006/relationships/image" Target="../media/image18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2.png"/><Relationship Id="rId5" Type="http://schemas.openxmlformats.org/officeDocument/2006/relationships/image" Target="../media/image212.png"/><Relationship Id="rId4" Type="http://schemas.openxmlformats.org/officeDocument/2006/relationships/image" Target="../media/image14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7" Type="http://schemas.openxmlformats.org/officeDocument/2006/relationships/image" Target="../media/image212.pn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7.svg"/><Relationship Id="rId5" Type="http://schemas.openxmlformats.org/officeDocument/2006/relationships/image" Target="../media/image216.png"/><Relationship Id="rId4" Type="http://schemas.openxmlformats.org/officeDocument/2006/relationships/image" Target="../media/image215.sv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0.png"/><Relationship Id="rId5" Type="http://schemas.openxmlformats.org/officeDocument/2006/relationships/image" Target="../media/image219.png"/><Relationship Id="rId4" Type="http://schemas.openxmlformats.org/officeDocument/2006/relationships/image" Target="../media/image20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2.svg"/><Relationship Id="rId5" Type="http://schemas.openxmlformats.org/officeDocument/2006/relationships/image" Target="../media/image221.png"/><Relationship Id="rId4" Type="http://schemas.openxmlformats.org/officeDocument/2006/relationships/image" Target="../media/image21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5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svg"/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4.png"/><Relationship Id="rId4" Type="http://schemas.openxmlformats.org/officeDocument/2006/relationships/image" Target="../media/image223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6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69.xml"/><Relationship Id="rId4" Type="http://schemas.openxmlformats.org/officeDocument/2006/relationships/hyperlink" Target="https://preetkamal.com/22-best-encouraging-quotes-that-change-you/" TargetMode="Externa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7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71.xml"/><Relationship Id="rId5" Type="http://schemas.openxmlformats.org/officeDocument/2006/relationships/image" Target="../media/image230.png"/><Relationship Id="rId4" Type="http://schemas.openxmlformats.org/officeDocument/2006/relationships/image" Target="../media/image22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png"/><Relationship Id="rId7" Type="http://schemas.openxmlformats.org/officeDocument/2006/relationships/image" Target="../media/image23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72.xml"/><Relationship Id="rId6" Type="http://schemas.openxmlformats.org/officeDocument/2006/relationships/image" Target="../media/image234.png"/><Relationship Id="rId5" Type="http://schemas.openxmlformats.org/officeDocument/2006/relationships/image" Target="../media/image233.jpeg"/><Relationship Id="rId4" Type="http://schemas.openxmlformats.org/officeDocument/2006/relationships/image" Target="../media/image23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71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2.jpeg"/><Relationship Id="rId3" Type="http://schemas.openxmlformats.org/officeDocument/2006/relationships/image" Target="../media/image237.png"/><Relationship Id="rId7" Type="http://schemas.openxmlformats.org/officeDocument/2006/relationships/image" Target="../media/image241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69.xml"/><Relationship Id="rId6" Type="http://schemas.openxmlformats.org/officeDocument/2006/relationships/image" Target="../media/image240.png"/><Relationship Id="rId5" Type="http://schemas.openxmlformats.org/officeDocument/2006/relationships/image" Target="../media/image239.jpeg"/><Relationship Id="rId4" Type="http://schemas.openxmlformats.org/officeDocument/2006/relationships/image" Target="../media/image23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sv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7.xml"/><Relationship Id="rId6" Type="http://schemas.openxmlformats.org/officeDocument/2006/relationships/hyperlink" Target="mailto:info@ilpqc.org" TargetMode="External"/><Relationship Id="rId5" Type="http://schemas.openxmlformats.org/officeDocument/2006/relationships/image" Target="../media/image107.png"/><Relationship Id="rId4" Type="http://schemas.openxmlformats.org/officeDocument/2006/relationships/image" Target="../media/image106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73.xml"/><Relationship Id="rId4" Type="http://schemas.openxmlformats.org/officeDocument/2006/relationships/image" Target="../media/image244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7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7" Type="http://schemas.openxmlformats.org/officeDocument/2006/relationships/image" Target="../media/image24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6.png"/><Relationship Id="rId5" Type="http://schemas.openxmlformats.org/officeDocument/2006/relationships/hyperlink" Target="https://cheerequity.org/champsnational/" TargetMode="External"/><Relationship Id="rId4" Type="http://schemas.openxmlformats.org/officeDocument/2006/relationships/image" Target="../media/image245.pn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0.svg"/><Relationship Id="rId5" Type="http://schemas.openxmlformats.org/officeDocument/2006/relationships/image" Target="../media/image249.png"/><Relationship Id="rId4" Type="http://schemas.openxmlformats.org/officeDocument/2006/relationships/image" Target="../media/image187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2.svg"/><Relationship Id="rId3" Type="http://schemas.openxmlformats.org/officeDocument/2006/relationships/diagramLayout" Target="../diagrams/layout5.xml"/><Relationship Id="rId7" Type="http://schemas.openxmlformats.org/officeDocument/2006/relationships/image" Target="../media/image251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10" Type="http://schemas.openxmlformats.org/officeDocument/2006/relationships/image" Target="../media/image254.svg"/><Relationship Id="rId4" Type="http://schemas.openxmlformats.org/officeDocument/2006/relationships/diagramQuickStyle" Target="../diagrams/quickStyle5.xml"/><Relationship Id="rId9" Type="http://schemas.openxmlformats.org/officeDocument/2006/relationships/image" Target="../media/image253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258.png"/><Relationship Id="rId5" Type="http://schemas.openxmlformats.org/officeDocument/2006/relationships/image" Target="../media/image257.png"/><Relationship Id="rId4" Type="http://schemas.openxmlformats.org/officeDocument/2006/relationships/image" Target="../media/image25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13" Type="http://schemas.openxmlformats.org/officeDocument/2006/relationships/image" Target="../media/image119.png"/><Relationship Id="rId3" Type="http://schemas.openxmlformats.org/officeDocument/2006/relationships/image" Target="../media/image109.png"/><Relationship Id="rId7" Type="http://schemas.openxmlformats.org/officeDocument/2006/relationships/image" Target="../media/image113.png"/><Relationship Id="rId12" Type="http://schemas.openxmlformats.org/officeDocument/2006/relationships/image" Target="../media/image118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2.png"/><Relationship Id="rId11" Type="http://schemas.openxmlformats.org/officeDocument/2006/relationships/image" Target="../media/image117.png"/><Relationship Id="rId5" Type="http://schemas.openxmlformats.org/officeDocument/2006/relationships/image" Target="../media/image111.png"/><Relationship Id="rId10" Type="http://schemas.openxmlformats.org/officeDocument/2006/relationships/image" Target="../media/image116.png"/><Relationship Id="rId4" Type="http://schemas.openxmlformats.org/officeDocument/2006/relationships/image" Target="../media/image110.svg"/><Relationship Id="rId9" Type="http://schemas.openxmlformats.org/officeDocument/2006/relationships/image" Target="../media/image1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svg"/><Relationship Id="rId3" Type="http://schemas.openxmlformats.org/officeDocument/2006/relationships/image" Target="../media/image130.png"/><Relationship Id="rId7" Type="http://schemas.openxmlformats.org/officeDocument/2006/relationships/image" Target="../media/image1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33.svg"/><Relationship Id="rId5" Type="http://schemas.openxmlformats.org/officeDocument/2006/relationships/image" Target="../media/image132.png"/><Relationship Id="rId4" Type="http://schemas.openxmlformats.org/officeDocument/2006/relationships/image" Target="../media/image131.svg"/><Relationship Id="rId9" Type="http://schemas.openxmlformats.org/officeDocument/2006/relationships/image" Target="../media/image1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1224" y="3173680"/>
            <a:ext cx="5194433" cy="1826339"/>
          </a:xfrm>
        </p:spPr>
        <p:txBody>
          <a:bodyPr/>
          <a:lstStyle/>
          <a:p>
            <a:pPr lvl="1" algn="ctr"/>
            <a:r>
              <a:rPr lang="en-US" sz="4800" b="1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quity and Safe Sleep for Infant</a:t>
            </a:r>
            <a:r>
              <a:rPr lang="en-US" sz="4800" b="1">
                <a:solidFill>
                  <a:schemeClr val="accent1"/>
                </a:solidFill>
                <a:latin typeface="DM Sans"/>
                <a:ea typeface="+mj-lt"/>
                <a:cs typeface="+mj-lt"/>
              </a:rPr>
              <a:t>s</a:t>
            </a:r>
            <a:br>
              <a:rPr lang="en-US" sz="4800" b="1">
                <a:latin typeface="DM Sans"/>
                <a:ea typeface="+mj-lt"/>
                <a:cs typeface="+mj-lt"/>
              </a:rPr>
            </a:br>
            <a:r>
              <a:rPr lang="en-US" sz="3200" b="1">
                <a:solidFill>
                  <a:schemeClr val="tx1"/>
                </a:solidFill>
                <a:latin typeface="DM Sans"/>
                <a:ea typeface="+mj-lt"/>
                <a:cs typeface="+mj-lt"/>
              </a:rPr>
              <a:t>Equitable and Respectful Care Education and Implementation, Part 2</a:t>
            </a:r>
            <a:br>
              <a:rPr lang="en-US" sz="3600">
                <a:latin typeface="DM Sans"/>
                <a:ea typeface="+mj-lt"/>
                <a:cs typeface="+mj-lt"/>
              </a:rPr>
            </a:br>
            <a:endParaRPr lang="en-US" sz="3600" b="0">
              <a:latin typeface="DM Sans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74463" y="4514450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DM Sans"/>
                <a:ea typeface="+mn-lt"/>
                <a:cs typeface="+mn-lt"/>
              </a:rPr>
              <a:t>February 19th, 2024 2:00 </a:t>
            </a:r>
            <a:r>
              <a:rPr lang="en-US">
                <a:latin typeface="Bierstadt Display"/>
                <a:ea typeface="+mn-lt"/>
                <a:cs typeface="+mn-lt"/>
              </a:rPr>
              <a:t>PM</a:t>
            </a:r>
            <a:r>
              <a:rPr lang="en-US">
                <a:latin typeface="DM Sans"/>
                <a:ea typeface="+mn-lt"/>
                <a:cs typeface="+mn-lt"/>
              </a:rPr>
              <a:t> </a:t>
            </a:r>
            <a:endParaRPr lang="en-US">
              <a:latin typeface="DM Sans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63770316-A22E-98DA-7612-617DBB68472E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8E694DE2-D1B5-A619-19A6-0A53A2DE207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FE263125-2206-7D72-1BC9-C4D15DED1BB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46616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Community Partnerships</a:t>
            </a:r>
          </a:p>
        </p:txBody>
      </p:sp>
      <p:sp>
        <p:nvSpPr>
          <p:cNvPr id="23" name="Rounded Rectangle 6">
            <a:extLst>
              <a:ext uri="{FF2B5EF4-FFF2-40B4-BE49-F238E27FC236}">
                <a16:creationId xmlns:a16="http://schemas.microsoft.com/office/drawing/2014/main" id="{78B5A3B7-0107-74A6-42BE-EFADF14BEC3D}"/>
              </a:ext>
            </a:extLst>
          </p:cNvPr>
          <p:cNvSpPr/>
          <p:nvPr/>
        </p:nvSpPr>
        <p:spPr>
          <a:xfrm>
            <a:off x="1546973" y="230077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sp>
        <p:nvSpPr>
          <p:cNvPr id="26" name="Freeform 23">
            <a:extLst>
              <a:ext uri="{FF2B5EF4-FFF2-40B4-BE49-F238E27FC236}">
                <a16:creationId xmlns:a16="http://schemas.microsoft.com/office/drawing/2014/main" id="{AE550962-E289-5DDA-2AB0-8CBF44084B7E}"/>
              </a:ext>
            </a:extLst>
          </p:cNvPr>
          <p:cNvSpPr/>
          <p:nvPr/>
        </p:nvSpPr>
        <p:spPr>
          <a:xfrm flipV="1">
            <a:off x="11688331" y="2293443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pic>
        <p:nvPicPr>
          <p:cNvPr id="30" name="Picture 29" descr="A black background with white dots&#10;&#10;Description automatically generated">
            <a:extLst>
              <a:ext uri="{FF2B5EF4-FFF2-40B4-BE49-F238E27FC236}">
                <a16:creationId xmlns:a16="http://schemas.microsoft.com/office/drawing/2014/main" id="{D4E3D497-12D9-1528-0291-A8E833B57B5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63198" y="353"/>
            <a:ext cx="781050" cy="299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Parent and Caregiver Experience Prioritization</a:t>
            </a:r>
            <a:endParaRPr lang="en-US" sz="1400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pectful Parent and Caregiver Partnerships</a:t>
            </a:r>
            <a:endParaRPr lang="en-US" sz="1400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  <a:latin typeface="Calibri"/>
                <a:cs typeface="Calibri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15527" y="655007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60623" y="581938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1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210022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1"/>
          <p:cNvGrpSpPr/>
          <p:nvPr/>
        </p:nvGrpSpPr>
        <p:grpSpPr>
          <a:xfrm>
            <a:off x="6157418" y="4167674"/>
            <a:ext cx="5457846" cy="1383500"/>
            <a:chOff x="0" y="0"/>
            <a:chExt cx="2156186" cy="428975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53BF9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6097887" y="1906286"/>
            <a:ext cx="5445940" cy="1526374"/>
            <a:chOff x="0" y="0"/>
            <a:chExt cx="2156186" cy="428975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94C66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16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7" name="AutoShape 17"/>
          <p:cNvSpPr/>
          <p:nvPr/>
        </p:nvSpPr>
        <p:spPr>
          <a:xfrm flipV="1">
            <a:off x="7315243" y="3496691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18" name="AutoShape 18"/>
          <p:cNvSpPr/>
          <p:nvPr/>
        </p:nvSpPr>
        <p:spPr>
          <a:xfrm flipV="1">
            <a:off x="7244599" y="4270993"/>
            <a:ext cx="0" cy="1082670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 rot="16200000">
            <a:off x="6615130" y="-1343913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34"/>
          <p:cNvSpPr txBox="1"/>
          <p:nvPr/>
        </p:nvSpPr>
        <p:spPr>
          <a:xfrm>
            <a:off x="861257" y="991624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50" spc="111">
                <a:solidFill>
                  <a:srgbClr val="000000"/>
                </a:solidFill>
                <a:latin typeface="DM Sans"/>
              </a:rPr>
              <a:t>DRIVER 1: </a:t>
            </a:r>
          </a:p>
          <a:p>
            <a:pPr>
              <a:lnSpc>
                <a:spcPts val="3733"/>
              </a:lnSpc>
            </a:pPr>
            <a:r>
              <a:rPr lang="en-US" sz="2650" spc="111">
                <a:solidFill>
                  <a:srgbClr val="000000"/>
                </a:solidFill>
                <a:latin typeface="DM Sans"/>
              </a:rPr>
              <a:t>HEALTHCARE PROFESSIONAL COMMITMENT​</a:t>
            </a:r>
          </a:p>
        </p:txBody>
      </p:sp>
      <p:grpSp>
        <p:nvGrpSpPr>
          <p:cNvPr id="35" name="Group 35"/>
          <p:cNvGrpSpPr/>
          <p:nvPr/>
        </p:nvGrpSpPr>
        <p:grpSpPr>
          <a:xfrm>
            <a:off x="864395" y="3174206"/>
            <a:ext cx="3816499" cy="1229323"/>
            <a:chOff x="0" y="0"/>
            <a:chExt cx="1300650" cy="418949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300650" cy="418949"/>
            </a:xfrm>
            <a:custGeom>
              <a:avLst/>
              <a:gdLst/>
              <a:ahLst/>
              <a:cxnLst/>
              <a:rect l="l" t="t" r="r" b="b"/>
              <a:pathLst>
                <a:path w="1300650" h="418949">
                  <a:moveTo>
                    <a:pt x="27047" y="0"/>
                  </a:moveTo>
                  <a:lnTo>
                    <a:pt x="1273603" y="0"/>
                  </a:lnTo>
                  <a:cubicBezTo>
                    <a:pt x="1288541" y="0"/>
                    <a:pt x="1300650" y="12109"/>
                    <a:pt x="1300650" y="27047"/>
                  </a:cubicBezTo>
                  <a:lnTo>
                    <a:pt x="1300650" y="391902"/>
                  </a:lnTo>
                  <a:cubicBezTo>
                    <a:pt x="1300650" y="399075"/>
                    <a:pt x="1297800" y="405955"/>
                    <a:pt x="1292728" y="411027"/>
                  </a:cubicBezTo>
                  <a:cubicBezTo>
                    <a:pt x="1287656" y="416099"/>
                    <a:pt x="1280776" y="418949"/>
                    <a:pt x="1273603" y="418949"/>
                  </a:cubicBezTo>
                  <a:lnTo>
                    <a:pt x="27047" y="418949"/>
                  </a:lnTo>
                  <a:cubicBezTo>
                    <a:pt x="19874" y="418949"/>
                    <a:pt x="12994" y="416099"/>
                    <a:pt x="7922" y="411027"/>
                  </a:cubicBezTo>
                  <a:cubicBezTo>
                    <a:pt x="2850" y="405955"/>
                    <a:pt x="0" y="399075"/>
                    <a:pt x="0" y="391902"/>
                  </a:cubicBezTo>
                  <a:lnTo>
                    <a:pt x="0" y="27047"/>
                  </a:lnTo>
                  <a:cubicBezTo>
                    <a:pt x="0" y="19874"/>
                    <a:pt x="2850" y="12994"/>
                    <a:pt x="7922" y="7922"/>
                  </a:cubicBezTo>
                  <a:cubicBezTo>
                    <a:pt x="12994" y="2850"/>
                    <a:pt x="19874" y="0"/>
                    <a:pt x="2704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53BF9D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37"/>
            <p:cNvSpPr txBox="1"/>
            <p:nvPr/>
          </p:nvSpPr>
          <p:spPr>
            <a:xfrm>
              <a:off x="0" y="-38100"/>
              <a:ext cx="1300650" cy="45704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38" name="Freeform 38"/>
          <p:cNvSpPr/>
          <p:nvPr/>
        </p:nvSpPr>
        <p:spPr>
          <a:xfrm>
            <a:off x="3435711" y="1438561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2" name="Freeform 42"/>
          <p:cNvSpPr/>
          <p:nvPr/>
        </p:nvSpPr>
        <p:spPr>
          <a:xfrm>
            <a:off x="6257780" y="2324463"/>
            <a:ext cx="862781" cy="670812"/>
          </a:xfrm>
          <a:custGeom>
            <a:avLst/>
            <a:gdLst/>
            <a:ahLst/>
            <a:cxnLst/>
            <a:rect l="l" t="t" r="r" b="b"/>
            <a:pathLst>
              <a:path w="1294171" h="1006218">
                <a:moveTo>
                  <a:pt x="0" y="0"/>
                </a:moveTo>
                <a:lnTo>
                  <a:pt x="1294171" y="0"/>
                </a:lnTo>
                <a:lnTo>
                  <a:pt x="1294171" y="1006218"/>
                </a:lnTo>
                <a:lnTo>
                  <a:pt x="0" y="1006218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7" name="Freeform 47"/>
          <p:cNvSpPr/>
          <p:nvPr/>
        </p:nvSpPr>
        <p:spPr>
          <a:xfrm>
            <a:off x="6331260" y="4425581"/>
            <a:ext cx="787260" cy="787260"/>
          </a:xfrm>
          <a:custGeom>
            <a:avLst/>
            <a:gdLst/>
            <a:ahLst/>
            <a:cxnLst/>
            <a:rect l="l" t="t" r="r" b="b"/>
            <a:pathLst>
              <a:path w="1180890" h="1180890">
                <a:moveTo>
                  <a:pt x="0" y="0"/>
                </a:moveTo>
                <a:lnTo>
                  <a:pt x="1180890" y="0"/>
                </a:lnTo>
                <a:lnTo>
                  <a:pt x="1180890" y="1180890"/>
                </a:lnTo>
                <a:lnTo>
                  <a:pt x="0" y="1180890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1" name="TextBox 51"/>
          <p:cNvSpPr txBox="1"/>
          <p:nvPr/>
        </p:nvSpPr>
        <p:spPr>
          <a:xfrm>
            <a:off x="7371598" y="2048191"/>
            <a:ext cx="4084512" cy="12182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600" b="1" spc="43">
                <a:solidFill>
                  <a:srgbClr val="FFFFFF"/>
                </a:solidFill>
                <a:latin typeface="DM Sans"/>
                <a:cs typeface="Calibri"/>
              </a:rPr>
              <a:t>Educate providers, nurses, and other staff about listening to families, providing respectful care and building trust, and addressing implicit bias and engaging in anti-racism </a:t>
            </a:r>
            <a:endParaRPr lang="en-US" sz="1600" spc="43">
              <a:solidFill>
                <a:srgbClr val="FFFFFF"/>
              </a:solidFill>
              <a:latin typeface="DM Sans"/>
              <a:cs typeface="Calibri"/>
            </a:endParaRPr>
          </a:p>
        </p:txBody>
      </p:sp>
      <p:sp>
        <p:nvSpPr>
          <p:cNvPr id="52" name="TextBox 52"/>
          <p:cNvSpPr txBox="1"/>
          <p:nvPr/>
        </p:nvSpPr>
        <p:spPr>
          <a:xfrm>
            <a:off x="7502567" y="4539286"/>
            <a:ext cx="3718467" cy="4873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600" b="1" spc="43">
                <a:solidFill>
                  <a:srgbClr val="FFFFFF"/>
                </a:solidFill>
                <a:latin typeface="DM Sans"/>
                <a:cs typeface="Calibri"/>
              </a:rPr>
              <a:t>Encourage open discussions about equitable and respectful care</a:t>
            </a:r>
            <a:r>
              <a:rPr lang="en-US" sz="1300" b="1" spc="43">
                <a:solidFill>
                  <a:srgbClr val="FFFFFF"/>
                </a:solidFill>
                <a:latin typeface="DM Sans"/>
                <a:cs typeface="Calibri"/>
              </a:rPr>
              <a:t> </a:t>
            </a:r>
          </a:p>
        </p:txBody>
      </p:sp>
      <p:sp>
        <p:nvSpPr>
          <p:cNvPr id="55" name="TextBox 55"/>
          <p:cNvSpPr txBox="1"/>
          <p:nvPr/>
        </p:nvSpPr>
        <p:spPr>
          <a:xfrm>
            <a:off x="1039850" y="3375800"/>
            <a:ext cx="3454879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DM Sans"/>
                <a:cs typeface="Calibri"/>
              </a:rPr>
              <a:t>Secondary Driver 1: Equitable and Respectful Care Education and Implementation </a:t>
            </a:r>
            <a:endParaRPr lang="en-US" sz="1600" spc="51">
              <a:solidFill>
                <a:srgbClr val="000000"/>
              </a:solidFill>
              <a:latin typeface="Barlow Bold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FE085C4-0A4D-D525-BEFC-A58C8B262908}"/>
              </a:ext>
            </a:extLst>
          </p:cNvPr>
          <p:cNvCxnSpPr/>
          <p:nvPr/>
        </p:nvCxnSpPr>
        <p:spPr>
          <a:xfrm>
            <a:off x="4680835" y="3870561"/>
            <a:ext cx="1484713" cy="1303297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AB05664-6AAD-B37F-B42B-F3BE57FF4B64}"/>
              </a:ext>
            </a:extLst>
          </p:cNvPr>
          <p:cNvCxnSpPr>
            <a:cxnSpLocks/>
          </p:cNvCxnSpPr>
          <p:nvPr/>
        </p:nvCxnSpPr>
        <p:spPr>
          <a:xfrm flipV="1">
            <a:off x="4682793" y="2617931"/>
            <a:ext cx="1435131" cy="118065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560904" y="1208987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DM Sans"/>
                <a:ea typeface="MS PGothic"/>
                <a:cs typeface="Arial"/>
              </a:rPr>
              <a:t>Change Ideas</a:t>
            </a:r>
          </a:p>
        </p:txBody>
      </p:sp>
      <p:sp>
        <p:nvSpPr>
          <p:cNvPr id="66" name="AutoShape 18">
            <a:extLst>
              <a:ext uri="{FF2B5EF4-FFF2-40B4-BE49-F238E27FC236}">
                <a16:creationId xmlns:a16="http://schemas.microsoft.com/office/drawing/2014/main" id="{6709B76E-C13F-CDBC-A217-3FE0EE748101}"/>
              </a:ext>
            </a:extLst>
          </p:cNvPr>
          <p:cNvSpPr/>
          <p:nvPr/>
        </p:nvSpPr>
        <p:spPr>
          <a:xfrm flipV="1">
            <a:off x="7244599" y="2163587"/>
            <a:ext cx="0" cy="1082670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16FCBB-DF87-440B-74CF-074B2CA63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99574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FC3E6-8E03-4AD0-DC5A-624DF52B6E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856841"/>
            <a:ext cx="5194433" cy="1826339"/>
          </a:xfrm>
        </p:spPr>
        <p:txBody>
          <a:bodyPr>
            <a:normAutofit fontScale="90000"/>
          </a:bodyPr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Poll: Have you chosen your E-Module yet?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C82C81E-502D-BE3D-429C-0EA81B1F57BD}"/>
              </a:ext>
            </a:extLst>
          </p:cNvPr>
          <p:cNvSpPr txBox="1">
            <a:spLocks/>
          </p:cNvSpPr>
          <p:nvPr/>
        </p:nvSpPr>
        <p:spPr>
          <a:xfrm>
            <a:off x="1539283" y="3290486"/>
            <a:ext cx="9108824" cy="1627487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If so, which one have you picked?</a:t>
            </a:r>
          </a:p>
          <a:p>
            <a:endParaRPr lang="en-US" sz="3600" b="1">
              <a:solidFill>
                <a:srgbClr val="1C498B"/>
              </a:solidFill>
              <a:latin typeface="DM Sans"/>
              <a:ea typeface="Lato Medium"/>
              <a:cs typeface="Lato Medium"/>
            </a:endParaRPr>
          </a:p>
          <a:p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If other, put it in the chat!</a:t>
            </a:r>
          </a:p>
        </p:txBody>
      </p:sp>
      <p:pic>
        <p:nvPicPr>
          <p:cNvPr id="6" name="Picture 5" descr="A blue circle with a black background&#10;&#10;Description automatically generated">
            <a:extLst>
              <a:ext uri="{FF2B5EF4-FFF2-40B4-BE49-F238E27FC236}">
                <a16:creationId xmlns:a16="http://schemas.microsoft.com/office/drawing/2014/main" id="{71BFFE68-F9B2-3E93-AD63-B48033147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69037" y="-1664246"/>
            <a:ext cx="1981200" cy="25146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033572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E23CA24-BB1C-352E-DF4F-F62D3865BC86}"/>
              </a:ext>
            </a:extLst>
          </p:cNvPr>
          <p:cNvSpPr txBox="1">
            <a:spLocks/>
          </p:cNvSpPr>
          <p:nvPr/>
        </p:nvSpPr>
        <p:spPr>
          <a:xfrm>
            <a:off x="1328644" y="2493730"/>
            <a:ext cx="9737404" cy="126189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 sz="32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Part 2 – Healthcare Professional Education: Equitable and Respectful Care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6663072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4">
            <a:extLst>
              <a:ext uri="{FF2B5EF4-FFF2-40B4-BE49-F238E27FC236}">
                <a16:creationId xmlns:a16="http://schemas.microsoft.com/office/drawing/2014/main" id="{8DAA63EA-4CFA-BA19-A922-155243C2D2F5}"/>
              </a:ext>
            </a:extLst>
          </p:cNvPr>
          <p:cNvSpPr/>
          <p:nvPr/>
        </p:nvSpPr>
        <p:spPr>
          <a:xfrm>
            <a:off x="160209" y="311496"/>
            <a:ext cx="3069801" cy="585540"/>
          </a:xfrm>
          <a:custGeom>
            <a:avLst/>
            <a:gdLst/>
            <a:ahLst/>
            <a:cxnLst/>
            <a:rect l="l" t="t" r="r" b="b"/>
            <a:pathLst>
              <a:path w="5074427" h="862653">
                <a:moveTo>
                  <a:pt x="0" y="0"/>
                </a:moveTo>
                <a:lnTo>
                  <a:pt x="5074427" y="0"/>
                </a:lnTo>
                <a:lnTo>
                  <a:pt x="5074427" y="862652"/>
                </a:lnTo>
                <a:lnTo>
                  <a:pt x="0" y="862652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latin typeface="DM Sans"/>
            </a:endParaRPr>
          </a:p>
        </p:txBody>
      </p:sp>
      <p:sp>
        <p:nvSpPr>
          <p:cNvPr id="3" name="TextBox 44">
            <a:extLst>
              <a:ext uri="{FF2B5EF4-FFF2-40B4-BE49-F238E27FC236}">
                <a16:creationId xmlns:a16="http://schemas.microsoft.com/office/drawing/2014/main" id="{78102230-EA6A-3DB2-E5D4-A22B16B71C72}"/>
              </a:ext>
            </a:extLst>
          </p:cNvPr>
          <p:cNvSpPr txBox="1"/>
          <p:nvPr/>
        </p:nvSpPr>
        <p:spPr>
          <a:xfrm>
            <a:off x="496041" y="431727"/>
            <a:ext cx="1727680" cy="35740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DM Sans"/>
                <a:cs typeface="Calibri"/>
              </a:rPr>
              <a:t>DRIVER 1</a:t>
            </a:r>
          </a:p>
        </p:txBody>
      </p:sp>
      <p:sp>
        <p:nvSpPr>
          <p:cNvPr id="4" name="Freeform 25">
            <a:extLst>
              <a:ext uri="{FF2B5EF4-FFF2-40B4-BE49-F238E27FC236}">
                <a16:creationId xmlns:a16="http://schemas.microsoft.com/office/drawing/2014/main" id="{4F380EAC-2E21-A782-F484-65FB9A0BB1E4}"/>
              </a:ext>
            </a:extLst>
          </p:cNvPr>
          <p:cNvSpPr/>
          <p:nvPr/>
        </p:nvSpPr>
        <p:spPr>
          <a:xfrm>
            <a:off x="2162938" y="131025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6" y="0"/>
                </a:lnTo>
                <a:lnTo>
                  <a:pt x="1266856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latin typeface="DM Sans"/>
            </a:endParaRPr>
          </a:p>
        </p:txBody>
      </p:sp>
      <p:sp>
        <p:nvSpPr>
          <p:cNvPr id="5" name="TextBox 45">
            <a:extLst>
              <a:ext uri="{FF2B5EF4-FFF2-40B4-BE49-F238E27FC236}">
                <a16:creationId xmlns:a16="http://schemas.microsoft.com/office/drawing/2014/main" id="{8C23B86C-0FE9-CEED-F6F4-B024ACED163B}"/>
              </a:ext>
            </a:extLst>
          </p:cNvPr>
          <p:cNvSpPr txBox="1"/>
          <p:nvPr/>
        </p:nvSpPr>
        <p:spPr>
          <a:xfrm>
            <a:off x="3411898" y="309046"/>
            <a:ext cx="3545557" cy="6714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640"/>
              </a:lnSpc>
            </a:pPr>
            <a:r>
              <a:rPr lang="en-US" sz="2400" b="1">
                <a:solidFill>
                  <a:srgbClr val="1C498B"/>
                </a:solidFill>
                <a:latin typeface="DM Sans"/>
              </a:rPr>
              <a:t>Healthcare Professional Commitmen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CAAB623-AB39-F2EA-2795-C660DE99A638}"/>
              </a:ext>
            </a:extLst>
          </p:cNvPr>
          <p:cNvGrpSpPr/>
          <p:nvPr/>
        </p:nvGrpSpPr>
        <p:grpSpPr>
          <a:xfrm>
            <a:off x="4373405" y="2544152"/>
            <a:ext cx="2409770" cy="2804096"/>
            <a:chOff x="4632197" y="2587284"/>
            <a:chExt cx="698500" cy="812800"/>
          </a:xfrm>
        </p:grpSpPr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06D405CE-FB05-FAA2-88C5-0741C7AE3FA8}"/>
                </a:ext>
              </a:extLst>
            </p:cNvPr>
            <p:cNvSpPr/>
            <p:nvPr/>
          </p:nvSpPr>
          <p:spPr>
            <a:xfrm>
              <a:off x="4632197" y="2587284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latin typeface="DM Sans"/>
              </a:endParaRPr>
            </a:p>
          </p:txBody>
        </p:sp>
        <p:sp>
          <p:nvSpPr>
            <p:cNvPr id="46" name="TextBox 4">
              <a:extLst>
                <a:ext uri="{FF2B5EF4-FFF2-40B4-BE49-F238E27FC236}">
                  <a16:creationId xmlns:a16="http://schemas.microsoft.com/office/drawing/2014/main" id="{9A53C300-2B67-3C87-3B07-9136C7350472}"/>
                </a:ext>
              </a:extLst>
            </p:cNvPr>
            <p:cNvSpPr txBox="1"/>
            <p:nvPr/>
          </p:nvSpPr>
          <p:spPr>
            <a:xfrm>
              <a:off x="4632197" y="2669834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867"/>
                </a:lnSpc>
              </a:pPr>
              <a:endParaRPr sz="800">
                <a:latin typeface="DM San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52B056E-8504-09C9-7FD3-CE403C19BE97}"/>
              </a:ext>
            </a:extLst>
          </p:cNvPr>
          <p:cNvGrpSpPr/>
          <p:nvPr/>
        </p:nvGrpSpPr>
        <p:grpSpPr>
          <a:xfrm>
            <a:off x="3763831" y="1369913"/>
            <a:ext cx="1331545" cy="1549435"/>
            <a:chOff x="4022623" y="1413045"/>
            <a:chExt cx="698500" cy="812800"/>
          </a:xfrm>
        </p:grpSpPr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FE8A138E-A6A6-ABE6-0D86-1A98A294254F}"/>
                </a:ext>
              </a:extLst>
            </p:cNvPr>
            <p:cNvSpPr/>
            <p:nvPr/>
          </p:nvSpPr>
          <p:spPr>
            <a:xfrm>
              <a:off x="4022623" y="1413045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58366"/>
            </a:solidFill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latin typeface="DM Sans"/>
              </a:endParaRPr>
            </a:p>
          </p:txBody>
        </p:sp>
        <p:sp>
          <p:nvSpPr>
            <p:cNvPr id="44" name="TextBox 7">
              <a:extLst>
                <a:ext uri="{FF2B5EF4-FFF2-40B4-BE49-F238E27FC236}">
                  <a16:creationId xmlns:a16="http://schemas.microsoft.com/office/drawing/2014/main" id="{9938FFE6-FB70-A92C-5E56-5D30C540926F}"/>
                </a:ext>
              </a:extLst>
            </p:cNvPr>
            <p:cNvSpPr txBox="1"/>
            <p:nvPr/>
          </p:nvSpPr>
          <p:spPr>
            <a:xfrm>
              <a:off x="4022623" y="1495595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867"/>
                </a:lnSpc>
              </a:pPr>
              <a:endParaRPr sz="800">
                <a:latin typeface="DM San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CCF51CC-E723-13E1-112A-861D017710BE}"/>
              </a:ext>
            </a:extLst>
          </p:cNvPr>
          <p:cNvGrpSpPr/>
          <p:nvPr/>
        </p:nvGrpSpPr>
        <p:grpSpPr>
          <a:xfrm>
            <a:off x="6424792" y="1413045"/>
            <a:ext cx="1331545" cy="1549435"/>
            <a:chOff x="6424792" y="1413045"/>
            <a:chExt cx="698500" cy="812800"/>
          </a:xfrm>
        </p:grpSpPr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6EEBF41C-C731-4DB8-CFE9-8C79A17A9093}"/>
                </a:ext>
              </a:extLst>
            </p:cNvPr>
            <p:cNvSpPr/>
            <p:nvPr/>
          </p:nvSpPr>
          <p:spPr>
            <a:xfrm>
              <a:off x="6424792" y="1413045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latin typeface="DM Sans"/>
              </a:endParaRPr>
            </a:p>
          </p:txBody>
        </p:sp>
        <p:sp>
          <p:nvSpPr>
            <p:cNvPr id="42" name="TextBox 10">
              <a:extLst>
                <a:ext uri="{FF2B5EF4-FFF2-40B4-BE49-F238E27FC236}">
                  <a16:creationId xmlns:a16="http://schemas.microsoft.com/office/drawing/2014/main" id="{A3D81BB0-E0CA-661B-B105-219E9D70E372}"/>
                </a:ext>
              </a:extLst>
            </p:cNvPr>
            <p:cNvSpPr txBox="1"/>
            <p:nvPr/>
          </p:nvSpPr>
          <p:spPr>
            <a:xfrm>
              <a:off x="6424792" y="1495595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867"/>
                </a:lnSpc>
              </a:pPr>
              <a:endParaRPr sz="800">
                <a:latin typeface="DM San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F8A0414-D415-4E5E-4126-157F4F5CD932}"/>
              </a:ext>
            </a:extLst>
          </p:cNvPr>
          <p:cNvGrpSpPr/>
          <p:nvPr/>
        </p:nvGrpSpPr>
        <p:grpSpPr>
          <a:xfrm>
            <a:off x="2648075" y="3171571"/>
            <a:ext cx="1313884" cy="1528883"/>
            <a:chOff x="3223169" y="3128439"/>
            <a:chExt cx="698500" cy="812800"/>
          </a:xfrm>
        </p:grpSpPr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A2AE5BF7-3540-CE94-19C2-924EA7E8F198}"/>
                </a:ext>
              </a:extLst>
            </p:cNvPr>
            <p:cNvSpPr/>
            <p:nvPr/>
          </p:nvSpPr>
          <p:spPr>
            <a:xfrm>
              <a:off x="3223169" y="3128439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latin typeface="DM Sans"/>
              </a:endParaRPr>
            </a:p>
          </p:txBody>
        </p:sp>
        <p:sp>
          <p:nvSpPr>
            <p:cNvPr id="40" name="TextBox 13">
              <a:extLst>
                <a:ext uri="{FF2B5EF4-FFF2-40B4-BE49-F238E27FC236}">
                  <a16:creationId xmlns:a16="http://schemas.microsoft.com/office/drawing/2014/main" id="{5D91E411-CD65-C2B6-785E-8F2A521DD1D3}"/>
                </a:ext>
              </a:extLst>
            </p:cNvPr>
            <p:cNvSpPr txBox="1"/>
            <p:nvPr/>
          </p:nvSpPr>
          <p:spPr>
            <a:xfrm>
              <a:off x="3223169" y="3210989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867"/>
                </a:lnSpc>
              </a:pPr>
              <a:endParaRPr sz="800">
                <a:latin typeface="DM San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6B6D406-3BA8-C323-60C6-4DA994C843C6}"/>
              </a:ext>
            </a:extLst>
          </p:cNvPr>
          <p:cNvGrpSpPr/>
          <p:nvPr/>
        </p:nvGrpSpPr>
        <p:grpSpPr>
          <a:xfrm>
            <a:off x="7173115" y="3128439"/>
            <a:ext cx="1313884" cy="1528883"/>
            <a:chOff x="7173115" y="3128439"/>
            <a:chExt cx="698500" cy="812800"/>
          </a:xfrm>
        </p:grpSpPr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C9711465-E2AB-8C83-8A4C-E5088F981659}"/>
                </a:ext>
              </a:extLst>
            </p:cNvPr>
            <p:cNvSpPr/>
            <p:nvPr/>
          </p:nvSpPr>
          <p:spPr>
            <a:xfrm>
              <a:off x="7173115" y="3128439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48CFAE"/>
            </a:solidFill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latin typeface="DM Sans"/>
              </a:endParaRPr>
            </a:p>
          </p:txBody>
        </p:sp>
        <p:sp>
          <p:nvSpPr>
            <p:cNvPr id="38" name="TextBox 16">
              <a:extLst>
                <a:ext uri="{FF2B5EF4-FFF2-40B4-BE49-F238E27FC236}">
                  <a16:creationId xmlns:a16="http://schemas.microsoft.com/office/drawing/2014/main" id="{38224E76-B951-C878-90CC-95F2704442BD}"/>
                </a:ext>
              </a:extLst>
            </p:cNvPr>
            <p:cNvSpPr txBox="1"/>
            <p:nvPr/>
          </p:nvSpPr>
          <p:spPr>
            <a:xfrm>
              <a:off x="7173115" y="3210989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867"/>
                </a:lnSpc>
              </a:pPr>
              <a:endParaRPr sz="800">
                <a:latin typeface="DM San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006263E-2644-39A7-EFCF-E4CF3377324E}"/>
              </a:ext>
            </a:extLst>
          </p:cNvPr>
          <p:cNvGrpSpPr/>
          <p:nvPr/>
        </p:nvGrpSpPr>
        <p:grpSpPr>
          <a:xfrm>
            <a:off x="3664451" y="5030789"/>
            <a:ext cx="1285801" cy="1496205"/>
            <a:chOff x="3880111" y="4987657"/>
            <a:chExt cx="698500" cy="812800"/>
          </a:xfrm>
        </p:grpSpPr>
        <p:sp>
          <p:nvSpPr>
            <p:cNvPr id="35" name="Freeform 18">
              <a:extLst>
                <a:ext uri="{FF2B5EF4-FFF2-40B4-BE49-F238E27FC236}">
                  <a16:creationId xmlns:a16="http://schemas.microsoft.com/office/drawing/2014/main" id="{F9589825-BA76-2A88-9C04-55A363D778BF}"/>
                </a:ext>
              </a:extLst>
            </p:cNvPr>
            <p:cNvSpPr/>
            <p:nvPr/>
          </p:nvSpPr>
          <p:spPr>
            <a:xfrm>
              <a:off x="3880111" y="4987657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5668F"/>
            </a:solidFill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latin typeface="DM Sans"/>
              </a:endParaRPr>
            </a:p>
          </p:txBody>
        </p:sp>
        <p:sp>
          <p:nvSpPr>
            <p:cNvPr id="36" name="TextBox 19">
              <a:extLst>
                <a:ext uri="{FF2B5EF4-FFF2-40B4-BE49-F238E27FC236}">
                  <a16:creationId xmlns:a16="http://schemas.microsoft.com/office/drawing/2014/main" id="{AD834FD0-CFCA-74A3-3549-7D8C53C06D68}"/>
                </a:ext>
              </a:extLst>
            </p:cNvPr>
            <p:cNvSpPr txBox="1"/>
            <p:nvPr/>
          </p:nvSpPr>
          <p:spPr>
            <a:xfrm>
              <a:off x="3880111" y="5070207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867"/>
                </a:lnSpc>
              </a:pPr>
              <a:endParaRPr sz="800">
                <a:latin typeface="DM San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2476447-646A-19DD-CBE3-B1FAEAD0FA3A}"/>
              </a:ext>
            </a:extLst>
          </p:cNvPr>
          <p:cNvGrpSpPr/>
          <p:nvPr/>
        </p:nvGrpSpPr>
        <p:grpSpPr>
          <a:xfrm>
            <a:off x="6537970" y="4987657"/>
            <a:ext cx="1285801" cy="1496205"/>
            <a:chOff x="6537970" y="4987657"/>
            <a:chExt cx="698500" cy="812800"/>
          </a:xfrm>
        </p:grpSpPr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5BC8D6AE-CB14-47ED-5692-3C7D6F17290F}"/>
                </a:ext>
              </a:extLst>
            </p:cNvPr>
            <p:cNvSpPr/>
            <p:nvPr/>
          </p:nvSpPr>
          <p:spPr>
            <a:xfrm>
              <a:off x="6537970" y="4987657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C7ECF"/>
            </a:solidFill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latin typeface="DM Sans"/>
              </a:endParaRPr>
            </a:p>
          </p:txBody>
        </p:sp>
        <p:sp>
          <p:nvSpPr>
            <p:cNvPr id="34" name="TextBox 22">
              <a:extLst>
                <a:ext uri="{FF2B5EF4-FFF2-40B4-BE49-F238E27FC236}">
                  <a16:creationId xmlns:a16="http://schemas.microsoft.com/office/drawing/2014/main" id="{3ED115CA-DAB2-A9F7-A14D-424D3EA94804}"/>
                </a:ext>
              </a:extLst>
            </p:cNvPr>
            <p:cNvSpPr txBox="1"/>
            <p:nvPr/>
          </p:nvSpPr>
          <p:spPr>
            <a:xfrm>
              <a:off x="6537970" y="5070207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867"/>
                </a:lnSpc>
              </a:pPr>
              <a:endParaRPr sz="800">
                <a:latin typeface="DM Sans"/>
              </a:endParaRPr>
            </a:p>
          </p:txBody>
        </p:sp>
      </p:grpSp>
      <p:sp>
        <p:nvSpPr>
          <p:cNvPr id="13" name="Freeform 27">
            <a:extLst>
              <a:ext uri="{FF2B5EF4-FFF2-40B4-BE49-F238E27FC236}">
                <a16:creationId xmlns:a16="http://schemas.microsoft.com/office/drawing/2014/main" id="{6BC4087A-9690-F6FA-29A6-011C2A3B2597}"/>
              </a:ext>
            </a:extLst>
          </p:cNvPr>
          <p:cNvSpPr/>
          <p:nvPr/>
        </p:nvSpPr>
        <p:spPr>
          <a:xfrm>
            <a:off x="3874824" y="1820662"/>
            <a:ext cx="987780" cy="656130"/>
          </a:xfrm>
          <a:custGeom>
            <a:avLst/>
            <a:gdLst/>
            <a:ahLst/>
            <a:cxnLst/>
            <a:rect l="l" t="t" r="r" b="b"/>
            <a:pathLst>
              <a:path w="1481670" h="984195">
                <a:moveTo>
                  <a:pt x="0" y="0"/>
                </a:moveTo>
                <a:lnTo>
                  <a:pt x="1481670" y="0"/>
                </a:lnTo>
                <a:lnTo>
                  <a:pt x="1481670" y="984194"/>
                </a:lnTo>
                <a:lnTo>
                  <a:pt x="0" y="984194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latin typeface="DM Sans"/>
            </a:endParaRPr>
          </a:p>
        </p:txBody>
      </p:sp>
      <p:sp>
        <p:nvSpPr>
          <p:cNvPr id="14" name="Freeform 28">
            <a:extLst>
              <a:ext uri="{FF2B5EF4-FFF2-40B4-BE49-F238E27FC236}">
                <a16:creationId xmlns:a16="http://schemas.microsoft.com/office/drawing/2014/main" id="{C0D13344-6ED9-F550-0D28-B6D6723851FC}"/>
              </a:ext>
            </a:extLst>
          </p:cNvPr>
          <p:cNvSpPr/>
          <p:nvPr/>
        </p:nvSpPr>
        <p:spPr>
          <a:xfrm>
            <a:off x="2819796" y="3581560"/>
            <a:ext cx="1005513" cy="613363"/>
          </a:xfrm>
          <a:custGeom>
            <a:avLst/>
            <a:gdLst/>
            <a:ahLst/>
            <a:cxnLst/>
            <a:rect l="l" t="t" r="r" b="b"/>
            <a:pathLst>
              <a:path w="1508270" h="920045">
                <a:moveTo>
                  <a:pt x="0" y="0"/>
                </a:moveTo>
                <a:lnTo>
                  <a:pt x="1508270" y="0"/>
                </a:lnTo>
                <a:lnTo>
                  <a:pt x="1508270" y="920045"/>
                </a:lnTo>
                <a:lnTo>
                  <a:pt x="0" y="92004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latin typeface="DM Sans"/>
            </a:endParaRPr>
          </a:p>
        </p:txBody>
      </p:sp>
      <p:sp>
        <p:nvSpPr>
          <p:cNvPr id="15" name="Freeform 29">
            <a:extLst>
              <a:ext uri="{FF2B5EF4-FFF2-40B4-BE49-F238E27FC236}">
                <a16:creationId xmlns:a16="http://schemas.microsoft.com/office/drawing/2014/main" id="{96A1527B-087D-0EE6-E1AC-43D4D1A32765}"/>
              </a:ext>
            </a:extLst>
          </p:cNvPr>
          <p:cNvSpPr/>
          <p:nvPr/>
        </p:nvSpPr>
        <p:spPr>
          <a:xfrm>
            <a:off x="3832359" y="5354237"/>
            <a:ext cx="791031" cy="791031"/>
          </a:xfrm>
          <a:custGeom>
            <a:avLst/>
            <a:gdLst/>
            <a:ahLst/>
            <a:cxnLst/>
            <a:rect l="l" t="t" r="r" b="b"/>
            <a:pathLst>
              <a:path w="1186546" h="1186546">
                <a:moveTo>
                  <a:pt x="0" y="0"/>
                </a:moveTo>
                <a:lnTo>
                  <a:pt x="1186546" y="0"/>
                </a:lnTo>
                <a:lnTo>
                  <a:pt x="1186546" y="1186546"/>
                </a:lnTo>
                <a:lnTo>
                  <a:pt x="0" y="1186546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latin typeface="DM Sans"/>
            </a:endParaRPr>
          </a:p>
        </p:txBody>
      </p:sp>
      <p:sp>
        <p:nvSpPr>
          <p:cNvPr id="16" name="Freeform 30">
            <a:extLst>
              <a:ext uri="{FF2B5EF4-FFF2-40B4-BE49-F238E27FC236}">
                <a16:creationId xmlns:a16="http://schemas.microsoft.com/office/drawing/2014/main" id="{FEECB93C-D3D8-F928-2CAB-FB13D7E9EC47}"/>
              </a:ext>
            </a:extLst>
          </p:cNvPr>
          <p:cNvSpPr/>
          <p:nvPr/>
        </p:nvSpPr>
        <p:spPr>
          <a:xfrm>
            <a:off x="6717491" y="1739170"/>
            <a:ext cx="784248" cy="685861"/>
          </a:xfrm>
          <a:custGeom>
            <a:avLst/>
            <a:gdLst/>
            <a:ahLst/>
            <a:cxnLst/>
            <a:rect l="l" t="t" r="r" b="b"/>
            <a:pathLst>
              <a:path w="1176372" h="1028791">
                <a:moveTo>
                  <a:pt x="0" y="0"/>
                </a:moveTo>
                <a:lnTo>
                  <a:pt x="1176372" y="0"/>
                </a:lnTo>
                <a:lnTo>
                  <a:pt x="1176372" y="1028791"/>
                </a:lnTo>
                <a:lnTo>
                  <a:pt x="0" y="1028791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latin typeface="DM Sans"/>
            </a:endParaRPr>
          </a:p>
        </p:txBody>
      </p:sp>
      <p:sp>
        <p:nvSpPr>
          <p:cNvPr id="17" name="Freeform 31">
            <a:extLst>
              <a:ext uri="{FF2B5EF4-FFF2-40B4-BE49-F238E27FC236}">
                <a16:creationId xmlns:a16="http://schemas.microsoft.com/office/drawing/2014/main" id="{EC39B0EA-C33D-5876-DB53-C58D52A496D6}"/>
              </a:ext>
            </a:extLst>
          </p:cNvPr>
          <p:cNvSpPr/>
          <p:nvPr/>
        </p:nvSpPr>
        <p:spPr>
          <a:xfrm>
            <a:off x="7429650" y="3511255"/>
            <a:ext cx="801345" cy="725217"/>
          </a:xfrm>
          <a:custGeom>
            <a:avLst/>
            <a:gdLst/>
            <a:ahLst/>
            <a:cxnLst/>
            <a:rect l="l" t="t" r="r" b="b"/>
            <a:pathLst>
              <a:path w="1202018" h="1087826">
                <a:moveTo>
                  <a:pt x="0" y="0"/>
                </a:moveTo>
                <a:lnTo>
                  <a:pt x="1202018" y="0"/>
                </a:lnTo>
                <a:lnTo>
                  <a:pt x="1202018" y="1087827"/>
                </a:lnTo>
                <a:lnTo>
                  <a:pt x="0" y="1087827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latin typeface="DM Sans"/>
            </a:endParaRPr>
          </a:p>
        </p:txBody>
      </p:sp>
      <p:sp>
        <p:nvSpPr>
          <p:cNvPr id="18" name="Freeform 32">
            <a:extLst>
              <a:ext uri="{FF2B5EF4-FFF2-40B4-BE49-F238E27FC236}">
                <a16:creationId xmlns:a16="http://schemas.microsoft.com/office/drawing/2014/main" id="{66F15AB2-B62F-464E-B311-50AFBBD36DE1}"/>
              </a:ext>
            </a:extLst>
          </p:cNvPr>
          <p:cNvSpPr/>
          <p:nvPr/>
        </p:nvSpPr>
        <p:spPr>
          <a:xfrm>
            <a:off x="6918620" y="5247872"/>
            <a:ext cx="602027" cy="946211"/>
          </a:xfrm>
          <a:custGeom>
            <a:avLst/>
            <a:gdLst/>
            <a:ahLst/>
            <a:cxnLst/>
            <a:rect l="l" t="t" r="r" b="b"/>
            <a:pathLst>
              <a:path w="903040" h="1419316">
                <a:moveTo>
                  <a:pt x="0" y="0"/>
                </a:moveTo>
                <a:lnTo>
                  <a:pt x="903039" y="0"/>
                </a:lnTo>
                <a:lnTo>
                  <a:pt x="903039" y="1419316"/>
                </a:lnTo>
                <a:lnTo>
                  <a:pt x="0" y="1419316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latin typeface="DM Sans"/>
            </a:endParaRPr>
          </a:p>
        </p:txBody>
      </p:sp>
      <p:sp>
        <p:nvSpPr>
          <p:cNvPr id="19" name="TextBox 33">
            <a:extLst>
              <a:ext uri="{FF2B5EF4-FFF2-40B4-BE49-F238E27FC236}">
                <a16:creationId xmlns:a16="http://schemas.microsoft.com/office/drawing/2014/main" id="{8F11F7E6-7D3C-CA67-44CE-523518401191}"/>
              </a:ext>
            </a:extLst>
          </p:cNvPr>
          <p:cNvSpPr txBox="1"/>
          <p:nvPr/>
        </p:nvSpPr>
        <p:spPr>
          <a:xfrm>
            <a:off x="-250854" y="1296612"/>
            <a:ext cx="4330985" cy="2702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DM Sans"/>
              </a:rPr>
              <a:t>I-PROMOTE Implicit Bias Training Directory</a:t>
            </a:r>
          </a:p>
        </p:txBody>
      </p:sp>
      <p:sp>
        <p:nvSpPr>
          <p:cNvPr id="20" name="TextBox 34">
            <a:extLst>
              <a:ext uri="{FF2B5EF4-FFF2-40B4-BE49-F238E27FC236}">
                <a16:creationId xmlns:a16="http://schemas.microsoft.com/office/drawing/2014/main" id="{90C972AF-7688-4F67-3A31-B038843C8846}"/>
              </a:ext>
            </a:extLst>
          </p:cNvPr>
          <p:cNvSpPr txBox="1"/>
          <p:nvPr/>
        </p:nvSpPr>
        <p:spPr>
          <a:xfrm>
            <a:off x="307154" y="2910677"/>
            <a:ext cx="2093537" cy="2702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DM Sans"/>
              </a:rPr>
              <a:t>E-Learning Modules</a:t>
            </a:r>
          </a:p>
        </p:txBody>
      </p:sp>
      <p:sp>
        <p:nvSpPr>
          <p:cNvPr id="21" name="TextBox 35">
            <a:extLst>
              <a:ext uri="{FF2B5EF4-FFF2-40B4-BE49-F238E27FC236}">
                <a16:creationId xmlns:a16="http://schemas.microsoft.com/office/drawing/2014/main" id="{A45FEF3C-668B-67E3-CB35-CBA5A0EEA8D8}"/>
              </a:ext>
            </a:extLst>
          </p:cNvPr>
          <p:cNvSpPr txBox="1"/>
          <p:nvPr/>
        </p:nvSpPr>
        <p:spPr>
          <a:xfrm>
            <a:off x="473518" y="3267140"/>
            <a:ext cx="2171317" cy="16046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DM Sans"/>
              </a:rPr>
              <a:t>National Health Start Association</a:t>
            </a:r>
          </a:p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DM Sans"/>
              </a:rPr>
              <a:t>March of Dimes</a:t>
            </a:r>
          </a:p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DM Sans"/>
              </a:rPr>
              <a:t>Think Cultural Health</a:t>
            </a:r>
          </a:p>
          <a:p>
            <a:pPr marL="331067" lvl="1" indent="-165534" algn="just">
              <a:lnSpc>
                <a:spcPts val="2147"/>
              </a:lnSpc>
              <a:spcBef>
                <a:spcPct val="0"/>
              </a:spcBef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DM Sans"/>
              </a:rPr>
              <a:t>Diversity Science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51FADBCC-273A-48A0-8BE4-0FD737D3B41E}"/>
              </a:ext>
            </a:extLst>
          </p:cNvPr>
          <p:cNvSpPr txBox="1"/>
          <p:nvPr/>
        </p:nvSpPr>
        <p:spPr>
          <a:xfrm>
            <a:off x="1398813" y="5316137"/>
            <a:ext cx="2093537" cy="2702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DM Sans"/>
              </a:rPr>
              <a:t>Live Trainings</a:t>
            </a:r>
          </a:p>
        </p:txBody>
      </p:sp>
      <p:sp>
        <p:nvSpPr>
          <p:cNvPr id="23" name="TextBox 37">
            <a:extLst>
              <a:ext uri="{FF2B5EF4-FFF2-40B4-BE49-F238E27FC236}">
                <a16:creationId xmlns:a16="http://schemas.microsoft.com/office/drawing/2014/main" id="{DC73AB53-48C3-BBE9-77E9-3701F9E15B47}"/>
              </a:ext>
            </a:extLst>
          </p:cNvPr>
          <p:cNvSpPr txBox="1"/>
          <p:nvPr/>
        </p:nvSpPr>
        <p:spPr>
          <a:xfrm>
            <a:off x="1346495" y="5643798"/>
            <a:ext cx="2403253" cy="5274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DM Sans"/>
              </a:rPr>
              <a:t>PQI </a:t>
            </a:r>
            <a:r>
              <a:rPr lang="en-US" sz="1533" err="1">
                <a:solidFill>
                  <a:srgbClr val="63696F"/>
                </a:solidFill>
                <a:latin typeface="DM Sans"/>
              </a:rPr>
              <a:t>SpeakUp</a:t>
            </a:r>
            <a:r>
              <a:rPr lang="en-US" sz="1533">
                <a:solidFill>
                  <a:srgbClr val="63696F"/>
                </a:solidFill>
                <a:latin typeface="DM Sans"/>
              </a:rPr>
              <a:t> Training</a:t>
            </a:r>
          </a:p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DM Sans"/>
              </a:rPr>
              <a:t>March of Dimes</a:t>
            </a:r>
          </a:p>
        </p:txBody>
      </p:sp>
      <p:sp>
        <p:nvSpPr>
          <p:cNvPr id="24" name="TextBox 38">
            <a:extLst>
              <a:ext uri="{FF2B5EF4-FFF2-40B4-BE49-F238E27FC236}">
                <a16:creationId xmlns:a16="http://schemas.microsoft.com/office/drawing/2014/main" id="{D02000B9-C11D-F485-AE3F-C73786D22302}"/>
              </a:ext>
            </a:extLst>
          </p:cNvPr>
          <p:cNvSpPr txBox="1"/>
          <p:nvPr/>
        </p:nvSpPr>
        <p:spPr>
          <a:xfrm>
            <a:off x="8003749" y="1462309"/>
            <a:ext cx="3698763" cy="2702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DM Sans"/>
              </a:rPr>
              <a:t>Listening to Parents and Family Voices</a:t>
            </a:r>
          </a:p>
        </p:txBody>
      </p:sp>
      <p:sp>
        <p:nvSpPr>
          <p:cNvPr id="25" name="TextBox 39">
            <a:extLst>
              <a:ext uri="{FF2B5EF4-FFF2-40B4-BE49-F238E27FC236}">
                <a16:creationId xmlns:a16="http://schemas.microsoft.com/office/drawing/2014/main" id="{5DED8AFB-0106-2276-E4DB-0E4656A59EC2}"/>
              </a:ext>
            </a:extLst>
          </p:cNvPr>
          <p:cNvSpPr txBox="1"/>
          <p:nvPr/>
        </p:nvSpPr>
        <p:spPr>
          <a:xfrm>
            <a:off x="7830322" y="1789970"/>
            <a:ext cx="4106918" cy="7955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DM Sans"/>
              </a:rPr>
              <a:t>The Illinois Maternal Health Digital Storytelling Project </a:t>
            </a:r>
            <a:endParaRPr lang="en-US">
              <a:latin typeface="DM Sans"/>
            </a:endParaRP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DM Sans"/>
              </a:rPr>
              <a:t>CDC HEAR HER Campaign </a:t>
            </a:r>
          </a:p>
        </p:txBody>
      </p:sp>
      <p:sp>
        <p:nvSpPr>
          <p:cNvPr id="26" name="TextBox 40">
            <a:extLst>
              <a:ext uri="{FF2B5EF4-FFF2-40B4-BE49-F238E27FC236}">
                <a16:creationId xmlns:a16="http://schemas.microsoft.com/office/drawing/2014/main" id="{30813E15-22AD-F95A-C771-707B8C0C977C}"/>
              </a:ext>
            </a:extLst>
          </p:cNvPr>
          <p:cNvSpPr txBox="1"/>
          <p:nvPr/>
        </p:nvSpPr>
        <p:spPr>
          <a:xfrm>
            <a:off x="8640926" y="3288849"/>
            <a:ext cx="3061585" cy="2702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DM Sans"/>
              </a:rPr>
              <a:t>Tools to Facilitate Discussions</a:t>
            </a:r>
          </a:p>
        </p:txBody>
      </p:sp>
      <p:sp>
        <p:nvSpPr>
          <p:cNvPr id="27" name="TextBox 41">
            <a:extLst>
              <a:ext uri="{FF2B5EF4-FFF2-40B4-BE49-F238E27FC236}">
                <a16:creationId xmlns:a16="http://schemas.microsoft.com/office/drawing/2014/main" id="{4B767187-5377-3A1E-3233-3E347DD48B3A}"/>
              </a:ext>
            </a:extLst>
          </p:cNvPr>
          <p:cNvSpPr txBox="1"/>
          <p:nvPr/>
        </p:nvSpPr>
        <p:spPr>
          <a:xfrm>
            <a:off x="8473382" y="3529382"/>
            <a:ext cx="3449481" cy="10648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DM Sans"/>
              </a:rPr>
              <a:t>Toxic – A Black Woman’s Story</a:t>
            </a:r>
            <a:endParaRPr lang="en-US" sz="1500">
              <a:solidFill>
                <a:srgbClr val="000000"/>
              </a:solidFill>
              <a:latin typeface="DM Sans"/>
              <a:cs typeface="Calibri"/>
            </a:endParaRP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DM Sans"/>
              </a:rPr>
              <a:t>Laboring with Hope Film</a:t>
            </a:r>
            <a:endParaRPr lang="en-US" sz="1500">
              <a:latin typeface="DM Sans"/>
              <a:cs typeface="Calibri"/>
            </a:endParaRP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DM Sans"/>
              </a:rPr>
              <a:t>Aftershock Film</a:t>
            </a: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DM Sans"/>
              </a:rPr>
              <a:t>PQI 21-day Anti-Racism Challenge</a:t>
            </a:r>
          </a:p>
        </p:txBody>
      </p:sp>
      <p:sp>
        <p:nvSpPr>
          <p:cNvPr id="28" name="TextBox 42">
            <a:extLst>
              <a:ext uri="{FF2B5EF4-FFF2-40B4-BE49-F238E27FC236}">
                <a16:creationId xmlns:a16="http://schemas.microsoft.com/office/drawing/2014/main" id="{376476E8-2F24-6971-7550-30D5858060B9}"/>
              </a:ext>
            </a:extLst>
          </p:cNvPr>
          <p:cNvSpPr txBox="1"/>
          <p:nvPr/>
        </p:nvSpPr>
        <p:spPr>
          <a:xfrm>
            <a:off x="8003749" y="5115389"/>
            <a:ext cx="3933491" cy="2702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DM Sans"/>
              </a:rPr>
              <a:t>Resources for Respectful Care Practices</a:t>
            </a:r>
          </a:p>
        </p:txBody>
      </p:sp>
      <p:sp>
        <p:nvSpPr>
          <p:cNvPr id="29" name="TextBox 43">
            <a:extLst>
              <a:ext uri="{FF2B5EF4-FFF2-40B4-BE49-F238E27FC236}">
                <a16:creationId xmlns:a16="http://schemas.microsoft.com/office/drawing/2014/main" id="{36A1C40A-AFCE-BF8A-9900-FF1E8C9FFEF3}"/>
              </a:ext>
            </a:extLst>
          </p:cNvPr>
          <p:cNvSpPr txBox="1"/>
          <p:nvPr/>
        </p:nvSpPr>
        <p:spPr>
          <a:xfrm>
            <a:off x="7824163" y="5447842"/>
            <a:ext cx="4405185" cy="133414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DM Sans"/>
              </a:rPr>
              <a:t>ILPQC Actionable Respectful Care Strategies </a:t>
            </a:r>
            <a:endParaRPr lang="en-US">
              <a:latin typeface="DM Sans"/>
            </a:endParaRP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DM Sans"/>
              </a:rPr>
              <a:t>AWHONN Respectful Maternity Care Implementation Toolkit-</a:t>
            </a: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DM Sans"/>
              </a:rPr>
              <a:t>The SHARE Approach  to shared decision-making</a:t>
            </a:r>
          </a:p>
        </p:txBody>
      </p:sp>
      <p:sp>
        <p:nvSpPr>
          <p:cNvPr id="30" name="TextBox 46">
            <a:extLst>
              <a:ext uri="{FF2B5EF4-FFF2-40B4-BE49-F238E27FC236}">
                <a16:creationId xmlns:a16="http://schemas.microsoft.com/office/drawing/2014/main" id="{D521CBA5-2389-980E-6019-208E4E9D8916}"/>
              </a:ext>
            </a:extLst>
          </p:cNvPr>
          <p:cNvSpPr txBox="1"/>
          <p:nvPr/>
        </p:nvSpPr>
        <p:spPr>
          <a:xfrm>
            <a:off x="4362019" y="3132859"/>
            <a:ext cx="2362267" cy="3184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613"/>
              </a:lnSpc>
              <a:spcBef>
                <a:spcPct val="0"/>
              </a:spcBef>
            </a:pPr>
            <a:r>
              <a:rPr lang="en-US" sz="1866" u="sng">
                <a:solidFill>
                  <a:srgbClr val="FDFDFD"/>
                </a:solidFill>
                <a:latin typeface="DM Sans"/>
              </a:rPr>
              <a:t>Secondary Driver 1:</a:t>
            </a:r>
            <a:r>
              <a:rPr lang="en-US" sz="1866">
                <a:solidFill>
                  <a:srgbClr val="FDFDFD"/>
                </a:solidFill>
                <a:latin typeface="DM Sans"/>
              </a:rPr>
              <a:t> </a:t>
            </a:r>
          </a:p>
        </p:txBody>
      </p:sp>
      <p:sp>
        <p:nvSpPr>
          <p:cNvPr id="31" name="TextBox 47">
            <a:extLst>
              <a:ext uri="{FF2B5EF4-FFF2-40B4-BE49-F238E27FC236}">
                <a16:creationId xmlns:a16="http://schemas.microsoft.com/office/drawing/2014/main" id="{BB54210E-7363-3FA4-95E8-151E37E30048}"/>
              </a:ext>
            </a:extLst>
          </p:cNvPr>
          <p:cNvSpPr txBox="1"/>
          <p:nvPr/>
        </p:nvSpPr>
        <p:spPr>
          <a:xfrm>
            <a:off x="-108" y="1594350"/>
            <a:ext cx="3622035" cy="10648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147"/>
              </a:lnSpc>
              <a:spcBef>
                <a:spcPct val="0"/>
              </a:spcBef>
            </a:pPr>
            <a:r>
              <a:rPr lang="en-US" sz="1500">
                <a:solidFill>
                  <a:srgbClr val="63696F"/>
                </a:solidFill>
                <a:latin typeface="DM Sans"/>
              </a:rPr>
              <a:t>Inventory of implicit bias trainings available including the sponsoring organization, title, estimated completion time, and cost</a:t>
            </a:r>
          </a:p>
        </p:txBody>
      </p:sp>
      <p:sp>
        <p:nvSpPr>
          <p:cNvPr id="32" name="TextBox 49">
            <a:extLst>
              <a:ext uri="{FF2B5EF4-FFF2-40B4-BE49-F238E27FC236}">
                <a16:creationId xmlns:a16="http://schemas.microsoft.com/office/drawing/2014/main" id="{0D061F90-29F1-2A58-F5C8-A54CF4F74914}"/>
              </a:ext>
            </a:extLst>
          </p:cNvPr>
          <p:cNvSpPr txBox="1"/>
          <p:nvPr/>
        </p:nvSpPr>
        <p:spPr>
          <a:xfrm>
            <a:off x="4551503" y="3525890"/>
            <a:ext cx="2079570" cy="11624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33"/>
              </a:lnSpc>
              <a:spcBef>
                <a:spcPct val="0"/>
              </a:spcBef>
            </a:pPr>
            <a:r>
              <a:rPr lang="en-US" sz="1666">
                <a:solidFill>
                  <a:srgbClr val="FDFDFD"/>
                </a:solidFill>
                <a:latin typeface="DM Sans"/>
              </a:rPr>
              <a:t>Equitable and Respectful Care Education and Implementation </a:t>
            </a:r>
          </a:p>
        </p:txBody>
      </p:sp>
      <p:sp>
        <p:nvSpPr>
          <p:cNvPr id="48" name="Star: 5 Points 47">
            <a:extLst>
              <a:ext uri="{FF2B5EF4-FFF2-40B4-BE49-F238E27FC236}">
                <a16:creationId xmlns:a16="http://schemas.microsoft.com/office/drawing/2014/main" id="{A1845571-50B3-5842-B49A-39B96E8EBEED}"/>
              </a:ext>
            </a:extLst>
          </p:cNvPr>
          <p:cNvSpPr/>
          <p:nvPr/>
        </p:nvSpPr>
        <p:spPr>
          <a:xfrm>
            <a:off x="8101562" y="3007536"/>
            <a:ext cx="669684" cy="56316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/>
            </a:endParaRPr>
          </a:p>
        </p:txBody>
      </p:sp>
      <p:sp>
        <p:nvSpPr>
          <p:cNvPr id="50" name="Star: 5 Points 49">
            <a:extLst>
              <a:ext uri="{FF2B5EF4-FFF2-40B4-BE49-F238E27FC236}">
                <a16:creationId xmlns:a16="http://schemas.microsoft.com/office/drawing/2014/main" id="{0A5DCEEC-8124-0087-BE88-ED4340DAEB2C}"/>
              </a:ext>
            </a:extLst>
          </p:cNvPr>
          <p:cNvSpPr/>
          <p:nvPr/>
        </p:nvSpPr>
        <p:spPr>
          <a:xfrm>
            <a:off x="7431285" y="4884314"/>
            <a:ext cx="669684" cy="56316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/>
            </a:endParaRPr>
          </a:p>
        </p:txBody>
      </p:sp>
      <p:sp>
        <p:nvSpPr>
          <p:cNvPr id="49" name="Footer Placeholder 4">
            <a:extLst>
              <a:ext uri="{FF2B5EF4-FFF2-40B4-BE49-F238E27FC236}">
                <a16:creationId xmlns:a16="http://schemas.microsoft.com/office/drawing/2014/main" id="{3DA5D461-B352-ED36-F24B-547BF405E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160712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A6F95A4-E644-E141-85AC-FEE639D9083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53144210"/>
              </p:ext>
            </p:extLst>
          </p:nvPr>
        </p:nvGraphicFramePr>
        <p:xfrm>
          <a:off x="609600" y="1825625"/>
          <a:ext cx="6489148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4B5DC-0432-49B8-02DA-1B7242F7B8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8625FE-B64F-8473-62B7-FF30B54DF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04A281-746F-C7C8-CF71-ECB6B5CBF987}"/>
              </a:ext>
            </a:extLst>
          </p:cNvPr>
          <p:cNvSpPr/>
          <p:nvPr/>
        </p:nvSpPr>
        <p:spPr>
          <a:xfrm>
            <a:off x="7923068" y="2289512"/>
            <a:ext cx="3565584" cy="35094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QR Code</a:t>
            </a:r>
            <a:endParaRPr lang="en-US" sz="3200"/>
          </a:p>
        </p:txBody>
      </p:sp>
      <p:pic>
        <p:nvPicPr>
          <p:cNvPr id="38" name="Graphic 37" descr="Badge 1 with solid fill">
            <a:extLst>
              <a:ext uri="{FF2B5EF4-FFF2-40B4-BE49-F238E27FC236}">
                <a16:creationId xmlns:a16="http://schemas.microsoft.com/office/drawing/2014/main" id="{7280F87C-D391-AE08-9C9D-1DEC3C9E372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366" y="2296064"/>
            <a:ext cx="914400" cy="914400"/>
          </a:xfrm>
          <a:prstGeom prst="rect">
            <a:avLst/>
          </a:prstGeom>
        </p:spPr>
      </p:pic>
      <p:pic>
        <p:nvPicPr>
          <p:cNvPr id="39" name="Graphic 38" descr="Badge with solid fill">
            <a:extLst>
              <a:ext uri="{FF2B5EF4-FFF2-40B4-BE49-F238E27FC236}">
                <a16:creationId xmlns:a16="http://schemas.microsoft.com/office/drawing/2014/main" id="{5C95010D-F147-72CD-70DB-706F39F6FFD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56385" y="2296064"/>
            <a:ext cx="914400" cy="914400"/>
          </a:xfrm>
          <a:prstGeom prst="rect">
            <a:avLst/>
          </a:prstGeom>
        </p:spPr>
      </p:pic>
      <p:pic>
        <p:nvPicPr>
          <p:cNvPr id="94" name="Graphic 93" descr="Badge 3 with solid fill">
            <a:extLst>
              <a:ext uri="{FF2B5EF4-FFF2-40B4-BE49-F238E27FC236}">
                <a16:creationId xmlns:a16="http://schemas.microsoft.com/office/drawing/2014/main" id="{F0171824-883A-E897-C316-FF24C292F29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7366" y="4697083"/>
            <a:ext cx="914400" cy="914400"/>
          </a:xfrm>
          <a:prstGeom prst="rect">
            <a:avLst/>
          </a:prstGeom>
        </p:spPr>
      </p:pic>
      <p:pic>
        <p:nvPicPr>
          <p:cNvPr id="95" name="Graphic 94" descr="Badge 4 with solid fill">
            <a:extLst>
              <a:ext uri="{FF2B5EF4-FFF2-40B4-BE49-F238E27FC236}">
                <a16:creationId xmlns:a16="http://schemas.microsoft.com/office/drawing/2014/main" id="{307CCD85-F7F2-75D1-B7CB-F0F348C29BE7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56385" y="4697083"/>
            <a:ext cx="914400" cy="914400"/>
          </a:xfrm>
          <a:prstGeom prst="rect">
            <a:avLst/>
          </a:prstGeom>
        </p:spPr>
      </p:pic>
      <p:pic>
        <p:nvPicPr>
          <p:cNvPr id="13" name="Picture 12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D1010B63-6F0D-6A52-B77E-08080955E50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39972" y="2373872"/>
            <a:ext cx="3324225" cy="3333750"/>
          </a:xfrm>
          <a:prstGeom prst="rect">
            <a:avLst/>
          </a:prstGeom>
        </p:spPr>
      </p:pic>
      <p:sp>
        <p:nvSpPr>
          <p:cNvPr id="27" name="TextBox 45">
            <a:extLst>
              <a:ext uri="{FF2B5EF4-FFF2-40B4-BE49-F238E27FC236}">
                <a16:creationId xmlns:a16="http://schemas.microsoft.com/office/drawing/2014/main" id="{880C80B2-984E-4C91-03F3-2781C2F14BCD}"/>
              </a:ext>
            </a:extLst>
          </p:cNvPr>
          <p:cNvSpPr txBox="1"/>
          <p:nvPr/>
        </p:nvSpPr>
        <p:spPr>
          <a:xfrm>
            <a:off x="532236" y="493269"/>
            <a:ext cx="8968160" cy="10634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40"/>
              </a:lnSpc>
            </a:pPr>
            <a:r>
              <a:rPr lang="en-US" sz="4000" b="1">
                <a:latin typeface="DM Sans"/>
              </a:rPr>
              <a:t>Get to </a:t>
            </a:r>
            <a:r>
              <a:rPr lang="en-US" sz="4000" b="1">
                <a:solidFill>
                  <a:srgbClr val="00B050"/>
                </a:solidFill>
                <a:latin typeface="DM Sans"/>
              </a:rPr>
              <a:t>GREEN:</a:t>
            </a:r>
          </a:p>
          <a:p>
            <a:pPr>
              <a:lnSpc>
                <a:spcPts val="2640"/>
              </a:lnSpc>
            </a:pPr>
            <a:endParaRPr lang="en-US" sz="4000" b="1">
              <a:solidFill>
                <a:srgbClr val="00B050"/>
              </a:solidFill>
              <a:latin typeface="DM Sans"/>
            </a:endParaRPr>
          </a:p>
          <a:p>
            <a:pPr>
              <a:lnSpc>
                <a:spcPts val="2640"/>
              </a:lnSpc>
            </a:pPr>
            <a:r>
              <a:rPr lang="en-US" sz="4000" b="1">
                <a:solidFill>
                  <a:srgbClr val="00B050"/>
                </a:solidFill>
                <a:latin typeface="DM Sans"/>
              </a:rPr>
              <a:t>Education Plan Components</a:t>
            </a:r>
          </a:p>
        </p:txBody>
      </p:sp>
    </p:spTree>
    <p:extLst>
      <p:ext uri="{BB962C8B-B14F-4D97-AF65-F5344CB8AC3E}">
        <p14:creationId xmlns:p14="http://schemas.microsoft.com/office/powerpoint/2010/main" val="28069319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with a light bulb above them&#10;&#10;Description automatically generated">
            <a:extLst>
              <a:ext uri="{FF2B5EF4-FFF2-40B4-BE49-F238E27FC236}">
                <a16:creationId xmlns:a16="http://schemas.microsoft.com/office/drawing/2014/main" id="{B63E9905-960F-FAC0-C5AF-19EC94BCB98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36644" y="3514021"/>
            <a:ext cx="1678868" cy="1622073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5290FA-00E0-3681-0C93-59A8F1530E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482" y="1662535"/>
            <a:ext cx="11901544" cy="469807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ptos Display"/>
                <a:ea typeface="Lato"/>
                <a:cs typeface="Lato"/>
              </a:rPr>
              <a:t>Day-long interactive workshops that </a:t>
            </a:r>
            <a:r>
              <a:rPr lang="en-US" b="1">
                <a:latin typeface="Aptos Display"/>
                <a:ea typeface="Lato"/>
                <a:cs typeface="Lato"/>
              </a:rPr>
              <a:t>outline strategies </a:t>
            </a:r>
            <a:r>
              <a:rPr lang="en-US">
                <a:latin typeface="Aptos Display"/>
                <a:ea typeface="Lato"/>
                <a:cs typeface="Lato"/>
              </a:rPr>
              <a:t>to help individuals and groups dismantle racism with </a:t>
            </a:r>
            <a:r>
              <a:rPr lang="en-US" b="1">
                <a:latin typeface="Aptos Display"/>
                <a:ea typeface="Lato"/>
                <a:cs typeface="Lato"/>
              </a:rPr>
              <a:t>self-reflection activities</a:t>
            </a:r>
          </a:p>
          <a:p>
            <a:r>
              <a:rPr lang="en-US" b="1">
                <a:latin typeface="Aptos Display"/>
                <a:ea typeface="Lato"/>
                <a:cs typeface="Lato"/>
              </a:rPr>
              <a:t>Target Audience</a:t>
            </a:r>
            <a:endParaRPr lang="en-US"/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latin typeface="Aptos Display"/>
                <a:ea typeface="Calibri"/>
                <a:cs typeface="Calibri"/>
              </a:rPr>
              <a:t>Illinois Healthcare professionals who support and care for patients </a:t>
            </a:r>
            <a:r>
              <a:rPr lang="en-US" b="1">
                <a:latin typeface="Aptos Display"/>
                <a:ea typeface="Calibri"/>
                <a:cs typeface="Calibri"/>
              </a:rPr>
              <a:t>before, during and after pregnancy</a:t>
            </a:r>
            <a:r>
              <a:rPr lang="en-US">
                <a:latin typeface="Aptos Display"/>
                <a:ea typeface="Calibri"/>
                <a:cs typeface="Calibri"/>
              </a:rPr>
              <a:t> or </a:t>
            </a:r>
            <a:r>
              <a:rPr lang="en-US" b="1">
                <a:latin typeface="Aptos Display"/>
                <a:ea typeface="Calibri"/>
                <a:cs typeface="Calibri"/>
              </a:rPr>
              <a:t>professionals that care for newborns.</a:t>
            </a:r>
            <a:endParaRPr lang="en-US" b="1">
              <a:latin typeface="Aptos Display"/>
              <a:ea typeface="Lato"/>
              <a:cs typeface="Lato"/>
            </a:endParaRPr>
          </a:p>
          <a:p>
            <a:r>
              <a:rPr lang="en-US" b="1">
                <a:latin typeface="Aptos Display"/>
                <a:ea typeface="Lato"/>
                <a:cs typeface="Lato"/>
              </a:rPr>
              <a:t>Learning Outcomes</a:t>
            </a:r>
            <a:endParaRPr lang="en-US" b="1">
              <a:latin typeface="Aptos Display"/>
            </a:endParaRP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b="1">
                <a:latin typeface="Aptos Display"/>
                <a:ea typeface="+mn-lt"/>
                <a:cs typeface="+mn-lt"/>
              </a:rPr>
              <a:t>Describe factors</a:t>
            </a:r>
            <a:r>
              <a:rPr lang="en-US">
                <a:latin typeface="Aptos Display"/>
                <a:ea typeface="+mn-lt"/>
                <a:cs typeface="+mn-lt"/>
              </a:rPr>
              <a:t> that contribute to perinatal disparities based on a racial equity framework.</a:t>
            </a:r>
            <a:endParaRPr lang="en-US">
              <a:latin typeface="Aptos Display"/>
            </a:endParaRP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b="1">
                <a:latin typeface="Aptos Display"/>
                <a:ea typeface="+mn-lt"/>
                <a:cs typeface="+mn-lt"/>
              </a:rPr>
              <a:t>Outline quality improvement strategies</a:t>
            </a:r>
            <a:r>
              <a:rPr lang="en-US">
                <a:latin typeface="Aptos Display"/>
                <a:ea typeface="+mn-lt"/>
                <a:cs typeface="+mn-lt"/>
              </a:rPr>
              <a:t> and tactics for eliminating implicit and explicit bias in perinatal care.</a:t>
            </a:r>
            <a:endParaRPr lang="en-US">
              <a:latin typeface="Aptos Display"/>
            </a:endParaRP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b="1">
                <a:latin typeface="Aptos Display"/>
                <a:ea typeface="+mn-lt"/>
                <a:cs typeface="+mn-lt"/>
              </a:rPr>
              <a:t>Develop a quality improvement action plan</a:t>
            </a:r>
            <a:r>
              <a:rPr lang="en-US">
                <a:latin typeface="Aptos Display"/>
                <a:ea typeface="+mn-lt"/>
                <a:cs typeface="+mn-lt"/>
              </a:rPr>
              <a:t> for ensuring equity in perinatal outcomes.</a:t>
            </a:r>
            <a:endParaRPr lang="en-US">
              <a:latin typeface="Aptos Display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9DC999-6EEC-0031-CC0F-21E13579E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E1DC25-7B4A-ACA0-9A5B-F5E09A851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8" name="Graphic 7" descr="Badge with solid fill">
            <a:extLst>
              <a:ext uri="{FF2B5EF4-FFF2-40B4-BE49-F238E27FC236}">
                <a16:creationId xmlns:a16="http://schemas.microsoft.com/office/drawing/2014/main" id="{D4F6248D-A01F-5E4C-45E3-17D4770C2EF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8899" y="416464"/>
            <a:ext cx="914400" cy="914400"/>
          </a:xfrm>
          <a:prstGeom prst="rect">
            <a:avLst/>
          </a:prstGeom>
        </p:spPr>
      </p:pic>
      <p:sp>
        <p:nvSpPr>
          <p:cNvPr id="9" name="TextBox 45">
            <a:extLst>
              <a:ext uri="{FF2B5EF4-FFF2-40B4-BE49-F238E27FC236}">
                <a16:creationId xmlns:a16="http://schemas.microsoft.com/office/drawing/2014/main" id="{3265B339-B96E-4570-B548-5EA9BDAA86FD}"/>
              </a:ext>
            </a:extLst>
          </p:cNvPr>
          <p:cNvSpPr txBox="1"/>
          <p:nvPr/>
        </p:nvSpPr>
        <p:spPr>
          <a:xfrm>
            <a:off x="1329688" y="539419"/>
            <a:ext cx="6823930" cy="10195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40"/>
              </a:lnSpc>
            </a:pPr>
            <a:r>
              <a:rPr lang="en-US" sz="3600" b="1">
                <a:solidFill>
                  <a:srgbClr val="1C498B"/>
                </a:solidFill>
                <a:latin typeface="DM Sans"/>
              </a:rPr>
              <a:t>PQI Speak Up Champion Course </a:t>
            </a:r>
            <a:endParaRPr lang="en-US">
              <a:cs typeface="Calibri" panose="020F0502020204030204"/>
            </a:endParaRPr>
          </a:p>
          <a:p>
            <a:pPr>
              <a:lnSpc>
                <a:spcPts val="2640"/>
              </a:lnSpc>
            </a:pPr>
            <a:r>
              <a:rPr lang="en-US" sz="2800" i="1">
                <a:solidFill>
                  <a:srgbClr val="1C498B"/>
                </a:solidFill>
                <a:latin typeface="DM Sans"/>
              </a:rPr>
              <a:t>Implicit and Explicit Racial Bias Education</a:t>
            </a:r>
          </a:p>
        </p:txBody>
      </p:sp>
    </p:spTree>
    <p:extLst>
      <p:ext uri="{BB962C8B-B14F-4D97-AF65-F5344CB8AC3E}">
        <p14:creationId xmlns:p14="http://schemas.microsoft.com/office/powerpoint/2010/main" val="9076104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0" name="Google Shape;12690;p1190"/>
          <p:cNvSpPr txBox="1">
            <a:spLocks noGrp="1"/>
          </p:cNvSpPr>
          <p:nvPr>
            <p:ph type="title"/>
          </p:nvPr>
        </p:nvSpPr>
        <p:spPr>
          <a:xfrm>
            <a:off x="79803" y="55186"/>
            <a:ext cx="5336874" cy="484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Aft>
                <a:spcPts val="700"/>
              </a:spcAft>
            </a:pPr>
            <a:r>
              <a:rPr lang="en-US" sz="3200" b="1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ILPQC will be offering </a:t>
            </a:r>
            <a:r>
              <a:rPr lang="en-US" sz="3200" b="1">
                <a:solidFill>
                  <a:srgbClr val="1C498B"/>
                </a:solidFill>
                <a:highlight>
                  <a:srgbClr val="FFFF00"/>
                </a:highlight>
                <a:latin typeface="DM Sans"/>
                <a:ea typeface="+mj-lt"/>
                <a:cs typeface="+mj-lt"/>
              </a:rPr>
              <a:t>one seat</a:t>
            </a:r>
            <a:r>
              <a:rPr lang="en-US" sz="3200" b="1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 to each ESSI hospital team to help build capacity to facilitate live discussions about equity and respectful care with your providers, nurses and staff.</a:t>
            </a:r>
          </a:p>
        </p:txBody>
      </p:sp>
      <p:sp>
        <p:nvSpPr>
          <p:cNvPr id="12691" name="Google Shape;12691;p1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  <p:pic>
        <p:nvPicPr>
          <p:cNvPr id="12692" name="Google Shape;12692;p1190" descr="A white and green flyer with a 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542260" y="6587"/>
            <a:ext cx="6645214" cy="667396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22AABC-2FAE-C746-BE44-74BD0DF24816}"/>
              </a:ext>
            </a:extLst>
          </p:cNvPr>
          <p:cNvSpPr txBox="1"/>
          <p:nvPr/>
        </p:nvSpPr>
        <p:spPr>
          <a:xfrm>
            <a:off x="87039" y="5030344"/>
            <a:ext cx="5451984" cy="1569660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>
                <a:latin typeface="DM Sans"/>
              </a:rPr>
              <a:t>Join the 178 ILPQC hospital-based team members who have already completed this training!</a:t>
            </a:r>
            <a:r>
              <a:rPr lang="en-US" sz="2400">
                <a:latin typeface="DM Sans"/>
                <a:cs typeface="Calibri"/>
              </a:rPr>
              <a:t>​</a:t>
            </a:r>
            <a:endParaRPr lang="en-US" sz="2400"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6884801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134FEB4-2731-3FC3-1BA0-47E1C6C9F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and white paint on a black background&#10;&#10;Description automatically generated">
            <a:extLst>
              <a:ext uri="{FF2B5EF4-FFF2-40B4-BE49-F238E27FC236}">
                <a16:creationId xmlns:a16="http://schemas.microsoft.com/office/drawing/2014/main" id="{5DF407C2-305B-55CA-1BFB-EB360EC1C7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99230" y="702381"/>
            <a:ext cx="3816349" cy="3216627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DA825D-4829-111F-EAFA-DD3F2F2D6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2670" y="2098184"/>
            <a:ext cx="10269620" cy="1316179"/>
          </a:xfrm>
        </p:spPr>
        <p:txBody>
          <a:bodyPr/>
          <a:lstStyle/>
          <a:p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Tools to </a:t>
            </a:r>
            <a:r>
              <a:rPr lang="en-US" i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acilitate Open Discussions</a:t>
            </a:r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 </a:t>
            </a:r>
            <a:br>
              <a:rPr lang="en-US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</a:br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about equitable and respectful care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2B2B2-E382-324A-D01A-5D69771462D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C0471C-AE8C-3A92-D5E6-7ECF93281AB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35091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 descr="A black background with white dots&#10;&#10;Description automatically generated">
            <a:extLst>
              <a:ext uri="{FF2B5EF4-FFF2-40B4-BE49-F238E27FC236}">
                <a16:creationId xmlns:a16="http://schemas.microsoft.com/office/drawing/2014/main" id="{DD93EB28-89D2-BF0A-D2EB-20AA38031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75697" y="-1114425"/>
            <a:ext cx="781050" cy="29908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74019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nk circle with black background&#10;&#10;Description automatically generated">
            <a:extLst>
              <a:ext uri="{FF2B5EF4-FFF2-40B4-BE49-F238E27FC236}">
                <a16:creationId xmlns:a16="http://schemas.microsoft.com/office/drawing/2014/main" id="{67CCC365-22DB-D748-55BC-F2D4D24F121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8000"/>
          </a:blip>
          <a:stretch>
            <a:fillRect/>
          </a:stretch>
        </p:blipFill>
        <p:spPr>
          <a:xfrm>
            <a:off x="-249647" y="-654012"/>
            <a:ext cx="1899821" cy="1960115"/>
          </a:xfrm>
          <a:prstGeom prst="rect">
            <a:avLst/>
          </a:prstGeom>
          <a:ln>
            <a:noFill/>
          </a:ln>
        </p:spPr>
      </p:pic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0B2A739-51C3-9CBF-7F6C-3EE69AAB6035}"/>
              </a:ext>
            </a:extLst>
          </p:cNvPr>
          <p:cNvSpPr txBox="1">
            <a:spLocks/>
          </p:cNvSpPr>
          <p:nvPr/>
        </p:nvSpPr>
        <p:spPr>
          <a:xfrm>
            <a:off x="350808" y="1592712"/>
            <a:ext cx="11835441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2024 Face-to-Face Meeting</a:t>
            </a:r>
          </a:p>
          <a:p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ESSI Aims and Measures</a:t>
            </a:r>
            <a:endParaRPr lang="en-US">
              <a:solidFill>
                <a:srgbClr val="000000"/>
              </a:solidFill>
              <a:latin typeface="DM Sans"/>
            </a:endParaRPr>
          </a:p>
          <a:p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Focus: Part 2 - Healthcare Professional Education: Equitable and Respectful Care</a:t>
            </a:r>
          </a:p>
          <a:p>
            <a:pPr lvl="1">
              <a:buClr>
                <a:srgbClr val="156082"/>
              </a:buClr>
              <a:buFont typeface="Courier New" panose="020B0604020202020204" pitchFamily="34" charset="0"/>
              <a:buChar char="o"/>
            </a:pPr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Tools to Facilitate Open Discussions</a:t>
            </a:r>
          </a:p>
          <a:p>
            <a:pPr lvl="1">
              <a:buClr>
                <a:srgbClr val="156082"/>
              </a:buClr>
              <a:buFont typeface="Courier New" panose="020B0604020202020204" pitchFamily="34" charset="0"/>
              <a:buChar char="o"/>
            </a:pPr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Resources for Respectful Care Practices</a:t>
            </a:r>
          </a:p>
          <a:p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Team Talk: </a:t>
            </a:r>
          </a:p>
          <a:p>
            <a:pPr lvl="1">
              <a:buClr>
                <a:srgbClr val="156082"/>
              </a:buClr>
              <a:buFont typeface="Courier New" panose="020B0604020202020204" pitchFamily="34" charset="0"/>
              <a:buChar char="o"/>
            </a:pPr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Elena Jenkins, Nurse Manager, SSM Health St Mary's Hospital, St. Louis   </a:t>
            </a:r>
          </a:p>
        </p:txBody>
      </p:sp>
      <p:pic>
        <p:nvPicPr>
          <p:cNvPr id="2" name="Picture 1" descr="A blue circle with a black background&#10;&#10;Description automatically generated">
            <a:extLst>
              <a:ext uri="{FF2B5EF4-FFF2-40B4-BE49-F238E27FC236}">
                <a16:creationId xmlns:a16="http://schemas.microsoft.com/office/drawing/2014/main" id="{4E44033E-2F3E-0C8C-79D1-4A8A074333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6511" y="-410633"/>
            <a:ext cx="1981200" cy="2514600"/>
          </a:xfrm>
          <a:prstGeom prst="rect">
            <a:avLst/>
          </a:prstGeom>
          <a:ln>
            <a:noFill/>
          </a:ln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9DA9E4-8E57-D07F-2A71-1A5B61A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pic>
        <p:nvPicPr>
          <p:cNvPr id="6" name="Picture 5" descr="A blue and white object with a black background&#10;&#10;Description automatically generated">
            <a:extLst>
              <a:ext uri="{FF2B5EF4-FFF2-40B4-BE49-F238E27FC236}">
                <a16:creationId xmlns:a16="http://schemas.microsoft.com/office/drawing/2014/main" id="{55A968CF-1C20-EB34-0C1E-D2FFE54F0C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00708" y="4296127"/>
            <a:ext cx="3905250" cy="35433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4691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BCE8A-E863-EED1-2627-5BCC2DD8B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7129" y="163419"/>
            <a:ext cx="10972800" cy="1325563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endParaRPr lang="en-US">
              <a:ea typeface="Lato Medium"/>
              <a:cs typeface="Lato Medium"/>
            </a:endParaRPr>
          </a:p>
        </p:txBody>
      </p:sp>
      <p:pic>
        <p:nvPicPr>
          <p:cNvPr id="4" name="Content Placeholder 3" descr="A group of hands holding puzzle pieces&#10;&#10;Description automatically generated">
            <a:extLst>
              <a:ext uri="{FF2B5EF4-FFF2-40B4-BE49-F238E27FC236}">
                <a16:creationId xmlns:a16="http://schemas.microsoft.com/office/drawing/2014/main" id="{1E561E22-EDA2-67F8-60AE-98A6A344B5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32379" y="-49073"/>
            <a:ext cx="9258300" cy="2990850"/>
          </a:xfrm>
        </p:spPr>
      </p:pic>
      <p:pic>
        <p:nvPicPr>
          <p:cNvPr id="5" name="Picture 4" descr="A group of white and black text on a yellow background&#10;&#10;Description automatically generated">
            <a:extLst>
              <a:ext uri="{FF2B5EF4-FFF2-40B4-BE49-F238E27FC236}">
                <a16:creationId xmlns:a16="http://schemas.microsoft.com/office/drawing/2014/main" id="{9224FA67-CEC5-049B-7BA2-AF0DD7A12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6894" y="2849656"/>
            <a:ext cx="6060142" cy="4027395"/>
          </a:xfrm>
          <a:prstGeom prst="rect">
            <a:avLst/>
          </a:prstGeom>
        </p:spPr>
      </p:pic>
      <p:pic>
        <p:nvPicPr>
          <p:cNvPr id="6" name="Picture 5" descr="A screenshot of a calendar&#10;&#10;Description automatically generated">
            <a:extLst>
              <a:ext uri="{FF2B5EF4-FFF2-40B4-BE49-F238E27FC236}">
                <a16:creationId xmlns:a16="http://schemas.microsoft.com/office/drawing/2014/main" id="{F08B3AD1-C922-7858-FFB3-9A3AFFB716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5099" y="2862543"/>
            <a:ext cx="5941919" cy="3990414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D38E8C9-ED3B-7236-E04A-E081CCB9A216}"/>
              </a:ext>
            </a:extLst>
          </p:cNvPr>
          <p:cNvSpPr/>
          <p:nvPr/>
        </p:nvSpPr>
        <p:spPr>
          <a:xfrm>
            <a:off x="1169787" y="4820328"/>
            <a:ext cx="1255058" cy="2005852"/>
          </a:xfrm>
          <a:prstGeom prst="roundRect">
            <a:avLst/>
          </a:prstGeom>
          <a:noFill/>
          <a:ln w="57150">
            <a:solidFill>
              <a:srgbClr val="703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9899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BE97BC6-903E-C427-F515-34FD202B93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nk circle with black background&#10;&#10;Description automatically generated">
            <a:extLst>
              <a:ext uri="{FF2B5EF4-FFF2-40B4-BE49-F238E27FC236}">
                <a16:creationId xmlns:a16="http://schemas.microsoft.com/office/drawing/2014/main" id="{272F66D1-F206-2103-9ACB-0E023A19B5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1418" y="5012656"/>
            <a:ext cx="1899821" cy="1960115"/>
          </a:xfrm>
          <a:prstGeom prst="rect">
            <a:avLst/>
          </a:prstGeom>
          <a:ln>
            <a:noFill/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5EE3321-8226-E827-531A-51EDF42A1DE9}"/>
              </a:ext>
            </a:extLst>
          </p:cNvPr>
          <p:cNvSpPr/>
          <p:nvPr/>
        </p:nvSpPr>
        <p:spPr>
          <a:xfrm>
            <a:off x="6988340" y="-9147"/>
            <a:ext cx="5190226" cy="1854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ink circle with black background&#10;&#10;Description automatically generated">
            <a:extLst>
              <a:ext uri="{FF2B5EF4-FFF2-40B4-BE49-F238E27FC236}">
                <a16:creationId xmlns:a16="http://schemas.microsoft.com/office/drawing/2014/main" id="{5805DF79-E645-A5A2-5559-A460AAA4DE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10251" y="-558912"/>
            <a:ext cx="1899821" cy="1960115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576EA4-3DF4-E9A6-5CD8-6AB4F95F4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2822" y="195792"/>
            <a:ext cx="6485467" cy="1311452"/>
          </a:xfrm>
        </p:spPr>
        <p:txBody>
          <a:bodyPr/>
          <a:lstStyle/>
          <a:p>
            <a:r>
              <a:rPr lang="en-US" sz="34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ilms</a:t>
            </a:r>
            <a:r>
              <a:rPr lang="en-US" sz="34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: </a:t>
            </a:r>
            <a:r>
              <a:rPr lang="en-US" sz="3400" i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Toxic: A Black Woman's Story</a:t>
            </a:r>
            <a:endParaRPr lang="en-US" sz="3400" b="1" i="1">
              <a:solidFill>
                <a:srgbClr val="1C498B"/>
              </a:solidFill>
              <a:latin typeface="DM Sans"/>
              <a:ea typeface="Lato Medium"/>
              <a:cs typeface="Lato Medium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ACD7C8-CBC2-44BB-21D9-5EBD997FCE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15" name="Graphic 14" descr="Badge 3 with solid fill">
            <a:extLst>
              <a:ext uri="{FF2B5EF4-FFF2-40B4-BE49-F238E27FC236}">
                <a16:creationId xmlns:a16="http://schemas.microsoft.com/office/drawing/2014/main" id="{B23BFA5C-0258-C957-51A9-CB3D308C6E4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0477" y="264051"/>
            <a:ext cx="914400" cy="914400"/>
          </a:xfrm>
          <a:prstGeom prst="rect">
            <a:avLst/>
          </a:prstGeom>
        </p:spPr>
      </p:pic>
      <p:pic>
        <p:nvPicPr>
          <p:cNvPr id="19" name="Picture 18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DCCE68AF-BF78-FB7B-0A00-1E024D3CC00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68" b="-741"/>
          <a:stretch/>
        </p:blipFill>
        <p:spPr>
          <a:xfrm>
            <a:off x="7677129" y="-11097"/>
            <a:ext cx="4508505" cy="192794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4EC5A6F-2845-FD2B-6970-CD251896E73C}"/>
              </a:ext>
            </a:extLst>
          </p:cNvPr>
          <p:cNvSpPr txBox="1"/>
          <p:nvPr/>
        </p:nvSpPr>
        <p:spPr>
          <a:xfrm>
            <a:off x="1328002" y="1404940"/>
            <a:ext cx="7350131" cy="544764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Goal:</a:t>
            </a:r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 To highlight the harmful effects of racism and toxic stress on African American maternal and child health outcomes.  </a:t>
            </a:r>
          </a:p>
          <a:p>
            <a:r>
              <a:rPr lang="en-US" sz="2200" b="1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Objectives: </a:t>
            </a:r>
          </a:p>
          <a:p>
            <a:pPr marL="457200" indent="-457200">
              <a:buFont typeface="Calibri"/>
              <a:buChar char="-"/>
            </a:pPr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Raise awareness about racism that will facilitate a change in beliefs, attitudes, and behaviors among social service providers, health care providers, and systems </a:t>
            </a:r>
          </a:p>
          <a:p>
            <a:pPr marL="457200" indent="-457200">
              <a:buFont typeface="Calibri"/>
              <a:buChar char="-"/>
            </a:pPr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Examine the harmful effects of race-related stress on the health and well-being of African American women and their families during pregnancy  </a:t>
            </a:r>
          </a:p>
          <a:p>
            <a:pPr marL="457200" indent="-457200">
              <a:buFont typeface="Calibri"/>
              <a:buChar char="-"/>
            </a:pPr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Identify strategies to decrease high infant death rates and improve care for African American women, men, and babies</a:t>
            </a:r>
          </a:p>
          <a:p>
            <a:pPr marL="457200" indent="-457200">
              <a:buFont typeface="Calibri"/>
              <a:buChar char="-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285750" indent="-285750">
              <a:buFont typeface="Calibri"/>
              <a:buChar char="-"/>
            </a:pPr>
            <a:endParaRPr lang="en-US" sz="2000" i="1">
              <a:solidFill>
                <a:srgbClr val="000000"/>
              </a:solidFill>
              <a:latin typeface="Calibri" panose="020F0502020204030204"/>
              <a:ea typeface="Cambria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146317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Diagram&#10;&#10;Description automatically generated">
            <a:extLst>
              <a:ext uri="{FF2B5EF4-FFF2-40B4-BE49-F238E27FC236}">
                <a16:creationId xmlns:a16="http://schemas.microsoft.com/office/drawing/2014/main" id="{3CF6352C-80D4-8411-F069-EF580A297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2704" y="1178"/>
            <a:ext cx="5348444" cy="6869874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DA53E-FFF7-E00B-4455-F505E0189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90711" y="6356350"/>
            <a:ext cx="4114800" cy="365125"/>
          </a:xfrm>
        </p:spPr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4F9562-47DD-46D2-33E6-22AF95DD8A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1485900" y="6426906"/>
            <a:ext cx="27432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Graphic 7" descr="Badge 3 with solid fill">
            <a:extLst>
              <a:ext uri="{FF2B5EF4-FFF2-40B4-BE49-F238E27FC236}">
                <a16:creationId xmlns:a16="http://schemas.microsoft.com/office/drawing/2014/main" id="{F7C4F860-0D00-1673-705A-2981DACE2AC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0477" y="588607"/>
            <a:ext cx="914400" cy="914400"/>
          </a:xfrm>
          <a:prstGeom prst="rect">
            <a:avLst/>
          </a:prstGeom>
        </p:spPr>
      </p:pic>
      <p:pic>
        <p:nvPicPr>
          <p:cNvPr id="10" name="Picture 9" descr="A pink circle with black background&#10;&#10;Description automatically generated">
            <a:extLst>
              <a:ext uri="{FF2B5EF4-FFF2-40B4-BE49-F238E27FC236}">
                <a16:creationId xmlns:a16="http://schemas.microsoft.com/office/drawing/2014/main" id="{44EA95A2-7ECD-6DB5-AA1D-0540EF129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802601" y="5744234"/>
            <a:ext cx="1899821" cy="1960115"/>
          </a:xfrm>
          <a:prstGeom prst="rect">
            <a:avLst/>
          </a:prstGeom>
          <a:ln>
            <a:noFill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407C152-BC6F-8F39-A9E7-B95EA6659D31}"/>
              </a:ext>
            </a:extLst>
          </p:cNvPr>
          <p:cNvSpPr txBox="1"/>
          <p:nvPr/>
        </p:nvSpPr>
        <p:spPr>
          <a:xfrm>
            <a:off x="269669" y="1644829"/>
            <a:ext cx="6475244" cy="507831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Spotlights </a:t>
            </a:r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the long-lasting effects of the U.S. Maternal Health Crisis, following two families seeking justice through legislation, medical accountability, community, and the power of art.  </a:t>
            </a:r>
            <a:endParaRPr lang="en-US" sz="2200" b="1">
              <a:solidFill>
                <a:srgbClr val="000000"/>
              </a:solidFill>
              <a:latin typeface="DM Sans"/>
              <a:ea typeface="Cambria"/>
              <a:cs typeface="Calibri"/>
            </a:endParaRPr>
          </a:p>
          <a:p>
            <a:endParaRPr lang="en-US" sz="2200">
              <a:solidFill>
                <a:srgbClr val="000000"/>
              </a:solidFill>
              <a:latin typeface="DM Sans"/>
              <a:ea typeface="Cambria"/>
              <a:cs typeface="Calibri"/>
            </a:endParaRPr>
          </a:p>
          <a:p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Currently available to screen on Hulu with Hulu account  </a:t>
            </a:r>
          </a:p>
          <a:p>
            <a:endParaRPr lang="en-US" sz="2200">
              <a:solidFill>
                <a:srgbClr val="000000"/>
              </a:solidFill>
              <a:latin typeface="DM Sans"/>
              <a:ea typeface="Cambria"/>
              <a:cs typeface="Calibri"/>
            </a:endParaRPr>
          </a:p>
          <a:p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If interested in hosting a screening or watch party, you can utilize the </a:t>
            </a:r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  <a:hlinkClick r:id="rId6"/>
              </a:rPr>
              <a:t>host toolkit</a:t>
            </a:r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 provided by the film. </a:t>
            </a:r>
          </a:p>
          <a:p>
            <a:pPr marL="457200" indent="-457200">
              <a:buFont typeface="Calibri"/>
              <a:buChar char="-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457200" indent="-457200">
              <a:buFont typeface="Calibri"/>
              <a:buChar char="-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285750" indent="-285750">
              <a:buFont typeface="Calibri"/>
              <a:buChar char="-"/>
            </a:pPr>
            <a:endParaRPr lang="en-US" sz="2000" i="1">
              <a:solidFill>
                <a:srgbClr val="000000"/>
              </a:solidFill>
              <a:cs typeface="Calibri" panose="020F0502020204030204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EA7D43A-D6C4-1F3D-C666-F35CA15F5AA6}"/>
              </a:ext>
            </a:extLst>
          </p:cNvPr>
          <p:cNvSpPr txBox="1">
            <a:spLocks/>
          </p:cNvSpPr>
          <p:nvPr/>
        </p:nvSpPr>
        <p:spPr>
          <a:xfrm>
            <a:off x="1315155" y="428627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 sz="34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ilms: </a:t>
            </a:r>
            <a:r>
              <a:rPr lang="en-US" sz="3400" i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Aftershock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6113786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40824F-AB80-44EF-C44C-5306F33969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4BAF8E-1C87-9AC2-7EDA-A672CC5B0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54156" y="6356350"/>
            <a:ext cx="4114800" cy="407458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 descr="A person with a large black hair&#10;&#10;Description automatically generated">
            <a:extLst>
              <a:ext uri="{FF2B5EF4-FFF2-40B4-BE49-F238E27FC236}">
                <a16:creationId xmlns:a16="http://schemas.microsoft.com/office/drawing/2014/main" id="{63685CC7-01CB-5862-B2A6-41A9DD7B3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5452" y="1496"/>
            <a:ext cx="4990676" cy="4902765"/>
          </a:xfrm>
          <a:prstGeom prst="rect">
            <a:avLst/>
          </a:prstGeom>
        </p:spPr>
      </p:pic>
      <p:pic>
        <p:nvPicPr>
          <p:cNvPr id="9" name="Graphic 8" descr="Badge 3 with solid fill">
            <a:extLst>
              <a:ext uri="{FF2B5EF4-FFF2-40B4-BE49-F238E27FC236}">
                <a16:creationId xmlns:a16="http://schemas.microsoft.com/office/drawing/2014/main" id="{CE34D3AF-FAA9-131B-87BA-3F91EB23F26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0477" y="405163"/>
            <a:ext cx="914400" cy="9144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7BE8C9B-B2A6-C4A2-E203-0A1624B519D9}"/>
              </a:ext>
            </a:extLst>
          </p:cNvPr>
          <p:cNvSpPr txBox="1">
            <a:spLocks/>
          </p:cNvSpPr>
          <p:nvPr/>
        </p:nvSpPr>
        <p:spPr>
          <a:xfrm>
            <a:off x="1315155" y="280460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 sz="34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ilms: </a:t>
            </a:r>
            <a:r>
              <a:rPr lang="en-US" sz="3400" i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Laboring with Hope</a:t>
            </a:r>
            <a:endParaRPr lang="en-US" sz="3400" i="1">
              <a:latin typeface="DM San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74830F-B6C8-51E5-A697-EDDDB56FB103}"/>
              </a:ext>
            </a:extLst>
          </p:cNvPr>
          <p:cNvSpPr txBox="1"/>
          <p:nvPr/>
        </p:nvSpPr>
        <p:spPr>
          <a:xfrm>
            <a:off x="650669" y="1348496"/>
            <a:ext cx="6376466" cy="45858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Spotlights </a:t>
            </a:r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the long-lasting effects of the U.S. Maternal Health Crisis </a:t>
            </a:r>
            <a:endParaRPr lang="en-US"/>
          </a:p>
          <a:p>
            <a:endParaRPr lang="en-US" sz="2200">
              <a:solidFill>
                <a:srgbClr val="000000"/>
              </a:solidFill>
              <a:latin typeface="DM Sans"/>
              <a:ea typeface="Cambria"/>
              <a:cs typeface="Calibri"/>
            </a:endParaRPr>
          </a:p>
          <a:p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A film about loss, grief, and hope for change. </a:t>
            </a:r>
          </a:p>
          <a:p>
            <a:endParaRPr lang="en-US" sz="2200">
              <a:solidFill>
                <a:srgbClr val="000000"/>
              </a:solidFill>
              <a:latin typeface="DM Sans"/>
              <a:ea typeface="Cambria"/>
              <a:cs typeface="Calibri"/>
            </a:endParaRPr>
          </a:p>
          <a:p>
            <a:r>
              <a:rPr lang="en-US" sz="2200" b="1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Goals: </a:t>
            </a:r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 </a:t>
            </a:r>
          </a:p>
          <a:p>
            <a:pPr marL="457200" indent="-457200">
              <a:buFont typeface="Calibri"/>
              <a:buChar char="-"/>
            </a:pP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Increase awareness</a:t>
            </a:r>
          </a:p>
          <a:p>
            <a:pPr marL="457200" indent="-457200">
              <a:buFont typeface="Calibri"/>
              <a:buChar char="-"/>
            </a:pP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Influence policy </a:t>
            </a:r>
          </a:p>
          <a:p>
            <a:pPr marL="457200" indent="-457200">
              <a:buFont typeface="Calibri"/>
              <a:buChar char="-"/>
            </a:pP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Training &amp; curricula  </a:t>
            </a:r>
          </a:p>
          <a:p>
            <a:pPr marL="457200" indent="-457200">
              <a:buFont typeface="Calibri"/>
              <a:buChar char="-"/>
            </a:pP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Collaborative research</a:t>
            </a:r>
          </a:p>
          <a:p>
            <a:pPr marL="457200" indent="-457200">
              <a:buFont typeface="Calibri"/>
              <a:buChar char="-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457200" indent="-457200">
              <a:buFont typeface="Calibri"/>
              <a:buChar char="-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457200" indent="-457200">
              <a:buFont typeface="Calibri"/>
              <a:buChar char="-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285750" indent="-285750">
              <a:buFont typeface="Calibri"/>
              <a:buChar char="-"/>
            </a:pPr>
            <a:endParaRPr lang="en-US" sz="2000" i="1">
              <a:solidFill>
                <a:srgbClr val="000000"/>
              </a:solidFill>
              <a:cs typeface="Calibri" panose="020F0502020204030204"/>
            </a:endParaRPr>
          </a:p>
        </p:txBody>
      </p:sp>
      <p:pic>
        <p:nvPicPr>
          <p:cNvPr id="14" name="Picture 13" descr="A close-up of a logo&#10;&#10;Description automatically generated">
            <a:extLst>
              <a:ext uri="{FF2B5EF4-FFF2-40B4-BE49-F238E27FC236}">
                <a16:creationId xmlns:a16="http://schemas.microsoft.com/office/drawing/2014/main" id="{B12F179E-14C3-0E6D-91D2-F9F147F41ED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99"/>
          <a:stretch/>
        </p:blipFill>
        <p:spPr>
          <a:xfrm>
            <a:off x="0" y="4709451"/>
            <a:ext cx="6096000" cy="214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1031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1F3834-E4ED-274F-332B-18AD4BC5D4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6D57BD-5D52-B829-7A1B-4DFAA4094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7F76B0-6B6E-EEFB-EB7C-CF553EF99CB9}"/>
              </a:ext>
            </a:extLst>
          </p:cNvPr>
          <p:cNvSpPr txBox="1">
            <a:spLocks/>
          </p:cNvSpPr>
          <p:nvPr/>
        </p:nvSpPr>
        <p:spPr>
          <a:xfrm>
            <a:off x="431481" y="3177040"/>
            <a:ext cx="11589864" cy="11279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Additional Resources on Creating Discussion Questions</a:t>
            </a:r>
            <a:endParaRPr lang="en-US" sz="3200">
              <a:solidFill>
                <a:srgbClr val="444C55"/>
              </a:solidFill>
              <a:latin typeface="DM Sans"/>
              <a:ea typeface="Lato Medium"/>
              <a:cs typeface="Lato Medium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452D33-5942-07C3-D137-C630431D992D}"/>
              </a:ext>
            </a:extLst>
          </p:cNvPr>
          <p:cNvSpPr txBox="1"/>
          <p:nvPr/>
        </p:nvSpPr>
        <p:spPr>
          <a:xfrm>
            <a:off x="541929" y="4306648"/>
            <a:ext cx="11282865" cy="246221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>
                <a:solidFill>
                  <a:srgbClr val="000000"/>
                </a:solidFill>
                <a:latin typeface="DM Sans"/>
                <a:ea typeface="Cambria"/>
                <a:cs typeface="Calibri"/>
              </a:rPr>
              <a:t>Use discussion questions exploring stereotypes, microaggressions, and privilege: </a:t>
            </a:r>
            <a:endParaRPr lang="en-US">
              <a:solidFill>
                <a:srgbClr val="444C55"/>
              </a:solidFill>
              <a:latin typeface="Calibri" panose="020F0502020204030204"/>
              <a:ea typeface="Cambria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i="1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Are there any forms of microaggressions that you wish more people were aware of? </a:t>
            </a:r>
          </a:p>
          <a:p>
            <a:pPr marL="342900" indent="-342900">
              <a:buFont typeface="Arial"/>
              <a:buChar char="•"/>
            </a:pPr>
            <a:r>
              <a:rPr lang="en-US" i="1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How does your diversity impact how you show up at work? </a:t>
            </a:r>
          </a:p>
          <a:p>
            <a:endParaRPr lang="en-US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r>
              <a:rPr lang="en-US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More examples </a:t>
            </a:r>
            <a:r>
              <a:rPr lang="en-US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  <a:hlinkClick r:id="rId3"/>
              </a:rPr>
              <a:t>linked here.</a:t>
            </a:r>
            <a:r>
              <a:rPr lang="en-US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 </a:t>
            </a:r>
            <a:endParaRPr lang="en-US" b="1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457200" indent="-457200">
              <a:buFont typeface="Arial"/>
              <a:buChar char="•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457200" indent="-457200">
              <a:buFont typeface="Arial"/>
              <a:buChar char="•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285750" indent="-285750">
              <a:buFont typeface="Arial"/>
              <a:buChar char="•"/>
            </a:pPr>
            <a:endParaRPr lang="en-US" sz="2000" i="1">
              <a:solidFill>
                <a:srgbClr val="000000"/>
              </a:solidFill>
              <a:cs typeface="Calibri" panose="020F0502020204030204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669C9F0-2FF6-50E0-9253-363500557F9E}"/>
              </a:ext>
            </a:extLst>
          </p:cNvPr>
          <p:cNvSpPr txBox="1">
            <a:spLocks/>
          </p:cNvSpPr>
          <p:nvPr/>
        </p:nvSpPr>
        <p:spPr>
          <a:xfrm>
            <a:off x="431481" y="129040"/>
            <a:ext cx="11589864" cy="11279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ilm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69B5E5-1AF4-7FD1-8CF4-25163B6A7048}"/>
              </a:ext>
            </a:extLst>
          </p:cNvPr>
          <p:cNvSpPr txBox="1"/>
          <p:nvPr/>
        </p:nvSpPr>
        <p:spPr>
          <a:xfrm>
            <a:off x="431946" y="1256774"/>
            <a:ext cx="8359074" cy="41242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200" b="1">
              <a:solidFill>
                <a:srgbClr val="000000"/>
              </a:solidFill>
              <a:latin typeface="DM Sans"/>
              <a:ea typeface="Cambria"/>
              <a:cs typeface="Calibri"/>
            </a:endParaRPr>
          </a:p>
          <a:p>
            <a:pPr marL="457200" indent="-457200">
              <a:buFont typeface="Calibri"/>
              <a:buChar char="-"/>
            </a:pP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Beneficial to </a:t>
            </a:r>
            <a:r>
              <a:rPr lang="en-US" sz="2000" b="1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NICU providers</a:t>
            </a: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 in highlighting ways to improve communication and interactions with parents and caregivers    </a:t>
            </a:r>
          </a:p>
          <a:p>
            <a:pPr marL="914400" lvl="1" indent="-457200">
              <a:buFont typeface="Courier New"/>
              <a:buChar char="o"/>
            </a:pP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Research has shown that three main sources of disparity in NICU quality care are interpersonal biases, care processes, and SDOH = </a:t>
            </a:r>
            <a:r>
              <a:rPr lang="en-US" sz="2000" b="1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These all </a:t>
            </a: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impact parental engagement </a:t>
            </a: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  <a:hlinkClick r:id="rId4"/>
              </a:rPr>
              <a:t>(Razdan et.al, 2023)</a:t>
            </a:r>
            <a:r>
              <a:rPr lang="en-US" sz="2000">
                <a:solidFill>
                  <a:srgbClr val="000000"/>
                </a:solidFill>
                <a:latin typeface="DM Sans"/>
                <a:ea typeface="Cambria"/>
                <a:cs typeface="Calibri" panose="020F0502020204030204"/>
              </a:rPr>
              <a:t>.  </a:t>
            </a:r>
          </a:p>
          <a:p>
            <a:pPr marL="914400" lvl="1" indent="-457200">
              <a:buFont typeface="Courier New"/>
              <a:buChar char="o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457200" indent="-457200">
              <a:buFont typeface="Calibri"/>
              <a:buChar char="-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457200" indent="-457200">
              <a:buFont typeface="Calibri"/>
              <a:buChar char="-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457200" indent="-457200">
              <a:buFont typeface="Calibri"/>
              <a:buChar char="-"/>
            </a:pPr>
            <a:endParaRPr lang="en-US" sz="2000">
              <a:solidFill>
                <a:srgbClr val="000000"/>
              </a:solidFill>
              <a:latin typeface="DM Sans"/>
              <a:ea typeface="Cambria"/>
              <a:cs typeface="Calibri" panose="020F0502020204030204"/>
            </a:endParaRPr>
          </a:p>
          <a:p>
            <a:pPr marL="285750" indent="-285750">
              <a:buFont typeface="Calibri"/>
              <a:buChar char="-"/>
            </a:pPr>
            <a:endParaRPr lang="en-US" sz="2000" i="1">
              <a:solidFill>
                <a:srgbClr val="000000"/>
              </a:solidFill>
              <a:latin typeface="Calibri" panose="020F0502020204030204"/>
              <a:ea typeface="Cambria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910341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nk and white curved object&#10;&#10;Description automatically generated">
            <a:extLst>
              <a:ext uri="{FF2B5EF4-FFF2-40B4-BE49-F238E27FC236}">
                <a16:creationId xmlns:a16="http://schemas.microsoft.com/office/drawing/2014/main" id="{E126513D-7058-FD7E-490C-06EFFE78B6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47569" y="-4090915"/>
            <a:ext cx="4185355" cy="5893505"/>
          </a:xfrm>
          <a:prstGeom prst="rect">
            <a:avLst/>
          </a:prstGeom>
          <a:ln>
            <a:noFill/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915C96FB-CA3E-FB7D-FA87-C8B63F874A7E}"/>
              </a:ext>
            </a:extLst>
          </p:cNvPr>
          <p:cNvSpPr txBox="1">
            <a:spLocks/>
          </p:cNvSpPr>
          <p:nvPr/>
        </p:nvSpPr>
        <p:spPr>
          <a:xfrm>
            <a:off x="1302396" y="178267"/>
            <a:ext cx="9870345" cy="1620432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acilitated Discussions Example:</a:t>
            </a:r>
            <a:r>
              <a:rPr lang="en-US" sz="32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 Hospital-Implemented Practices with Tools for Adapt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D69717A-2BD8-597E-FC87-0EB07ED0EC55}"/>
              </a:ext>
            </a:extLst>
          </p:cNvPr>
          <p:cNvSpPr txBox="1">
            <a:spLocks/>
          </p:cNvSpPr>
          <p:nvPr/>
        </p:nvSpPr>
        <p:spPr>
          <a:xfrm>
            <a:off x="474008" y="1169482"/>
            <a:ext cx="11856154" cy="6374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20B0604020202020204" pitchFamily="34" charset="0"/>
              <a:buChar char="q"/>
            </a:pPr>
            <a:r>
              <a:rPr lang="en-US">
                <a:solidFill>
                  <a:srgbClr val="F5668F"/>
                </a:solidFill>
                <a:latin typeface="DM Sans"/>
                <a:ea typeface="Lato"/>
                <a:cs typeface="Lato"/>
              </a:rPr>
              <a:t>  </a:t>
            </a:r>
            <a:r>
              <a:rPr lang="en-US" sz="2400" b="1">
                <a:latin typeface="DM Sans"/>
                <a:ea typeface="Lato"/>
                <a:cs typeface="Lato"/>
              </a:rPr>
              <a:t>Health Equity Rounds</a:t>
            </a:r>
            <a:r>
              <a:rPr lang="en-US" sz="2400">
                <a:latin typeface="DM Sans"/>
                <a:ea typeface="Lato"/>
                <a:cs typeface="Lato"/>
              </a:rPr>
              <a:t> </a:t>
            </a:r>
          </a:p>
          <a:p>
            <a:pPr lvl="1"/>
            <a:r>
              <a:rPr lang="en-US" sz="2000">
                <a:solidFill>
                  <a:srgbClr val="000000"/>
                </a:solidFill>
                <a:latin typeface="DM Sans"/>
                <a:ea typeface="Lato"/>
                <a:cs typeface="Lato"/>
              </a:rPr>
              <a:t>Developed at</a:t>
            </a:r>
            <a:r>
              <a:rPr lang="en-US" sz="2000" b="1">
                <a:solidFill>
                  <a:srgbClr val="000000"/>
                </a:solidFill>
                <a:latin typeface="DM Sans"/>
                <a:ea typeface="Lato"/>
                <a:cs typeface="Lato"/>
              </a:rPr>
              <a:t> </a:t>
            </a:r>
            <a:r>
              <a:rPr lang="en-US" sz="2000">
                <a:solidFill>
                  <a:srgbClr val="000000"/>
                </a:solidFill>
                <a:latin typeface="DM Sans"/>
                <a:ea typeface="Lato"/>
                <a:cs typeface="Lato"/>
              </a:rPr>
              <a:t>Boston Medical Center and implemented in the Children's Hospital of Philadelphia NICU</a:t>
            </a:r>
          </a:p>
          <a:p>
            <a:pPr lvl="1"/>
            <a:endParaRPr lang="en-US" sz="2000" b="1">
              <a:solidFill>
                <a:srgbClr val="000000"/>
              </a:solidFill>
              <a:latin typeface="DM Sans"/>
              <a:ea typeface="Lato"/>
              <a:cs typeface="Lato"/>
            </a:endParaRPr>
          </a:p>
          <a:p>
            <a:pPr lvl="1"/>
            <a:endParaRPr lang="en-US" sz="2000">
              <a:solidFill>
                <a:srgbClr val="000000"/>
              </a:solidFill>
              <a:latin typeface="DM Sans"/>
              <a:ea typeface="Lato"/>
              <a:cs typeface="Lato"/>
            </a:endParaRPr>
          </a:p>
          <a:p>
            <a:pPr lvl="2"/>
            <a:endParaRPr lang="en-US" sz="2000">
              <a:solidFill>
                <a:srgbClr val="000000"/>
              </a:solidFill>
              <a:latin typeface="Calibri"/>
              <a:ea typeface="Lato"/>
              <a:cs typeface="Lato"/>
            </a:endParaRPr>
          </a:p>
          <a:p>
            <a:pPr>
              <a:buFont typeface="Wingdings" panose="020B0604020202020204" pitchFamily="34" charset="0"/>
              <a:buChar char="q"/>
            </a:pPr>
            <a:endParaRPr lang="en-US">
              <a:solidFill>
                <a:srgbClr val="000000"/>
              </a:solidFill>
              <a:latin typeface="Aptos" panose="020B0004020202020204"/>
              <a:ea typeface="Lato"/>
              <a:cs typeface="Lato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19B7D0-D2C1-0E7C-DA5D-71EC98546092}"/>
              </a:ext>
            </a:extLst>
          </p:cNvPr>
          <p:cNvSpPr txBox="1"/>
          <p:nvPr/>
        </p:nvSpPr>
        <p:spPr>
          <a:xfrm>
            <a:off x="57091" y="3279492"/>
            <a:ext cx="6370693" cy="28458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742950" lvl="1" indent="-285750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 sz="2000" b="1" i="1">
                <a:solidFill>
                  <a:srgbClr val="000000"/>
                </a:solidFill>
                <a:latin typeface="DM Sans"/>
                <a:cs typeface="Arial"/>
              </a:rPr>
              <a:t>Resources </a:t>
            </a:r>
            <a:r>
              <a:rPr lang="en-US" sz="2000" b="1" i="1">
                <a:solidFill>
                  <a:srgbClr val="1C498B"/>
                </a:solidFill>
                <a:latin typeface="DM Sans"/>
                <a:cs typeface="Arial"/>
              </a:rPr>
              <a:t>YOUR </a:t>
            </a:r>
            <a:r>
              <a:rPr lang="en-US" sz="2000" b="1" i="1">
                <a:solidFill>
                  <a:srgbClr val="000000"/>
                </a:solidFill>
                <a:latin typeface="DM Sans"/>
                <a:cs typeface="Arial"/>
              </a:rPr>
              <a:t>Team Can Use (included in Appendices):</a:t>
            </a:r>
          </a:p>
          <a:p>
            <a:pPr marL="1200150" lvl="2" indent="-285750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 sz="2000">
                <a:latin typeface="DM Sans"/>
                <a:cs typeface="Arial"/>
              </a:rPr>
              <a:t>Health Equity Conference Slide deck that can be adapted for your hospital</a:t>
            </a:r>
          </a:p>
          <a:p>
            <a:pPr marL="1200150" lvl="2" indent="-285750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 sz="2000">
                <a:latin typeface="DM Sans"/>
                <a:cs typeface="Arial"/>
              </a:rPr>
              <a:t>7 case examples</a:t>
            </a:r>
            <a:r>
              <a:rPr lang="en-US" sz="2000" b="1" i="1">
                <a:latin typeface="DM Sans"/>
                <a:cs typeface="Arial"/>
              </a:rPr>
              <a:t> (or use your own!)</a:t>
            </a:r>
          </a:p>
          <a:p>
            <a:pPr marL="1200150" lvl="2" indent="-285750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 sz="2000">
                <a:latin typeface="DM Sans"/>
                <a:cs typeface="Arial"/>
              </a:rPr>
              <a:t>A guide on preparing materials for the conference</a:t>
            </a:r>
          </a:p>
          <a:p>
            <a:pPr marL="1200150" lvl="2" indent="-285750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 sz="2000">
                <a:latin typeface="DM Sans"/>
                <a:cs typeface="Arial"/>
              </a:rPr>
              <a:t>An evaluation template to be used before and after Health Equity Rounds</a:t>
            </a:r>
            <a:endParaRPr lang="en-US" sz="2000">
              <a:latin typeface="DM Sans"/>
              <a:cs typeface="Calibri"/>
            </a:endParaRPr>
          </a:p>
        </p:txBody>
      </p:sp>
      <p:pic>
        <p:nvPicPr>
          <p:cNvPr id="9" name="Picture 8" descr="A close-up of a text&#10;&#10;Description automatically generated">
            <a:extLst>
              <a:ext uri="{FF2B5EF4-FFF2-40B4-BE49-F238E27FC236}">
                <a16:creationId xmlns:a16="http://schemas.microsoft.com/office/drawing/2014/main" id="{A389B444-3A7F-CA7D-21D3-8CFAC516952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01904" y="2295226"/>
            <a:ext cx="5080047" cy="3768299"/>
          </a:xfrm>
          <a:prstGeom prst="rect">
            <a:avLst/>
          </a:prstGeom>
        </p:spPr>
      </p:pic>
      <p:sp>
        <p:nvSpPr>
          <p:cNvPr id="4" name="Freeform 32">
            <a:extLst>
              <a:ext uri="{FF2B5EF4-FFF2-40B4-BE49-F238E27FC236}">
                <a16:creationId xmlns:a16="http://schemas.microsoft.com/office/drawing/2014/main" id="{C1093426-7622-3EE6-322F-194FDFC82A19}"/>
              </a:ext>
            </a:extLst>
          </p:cNvPr>
          <p:cNvSpPr/>
          <p:nvPr/>
        </p:nvSpPr>
        <p:spPr>
          <a:xfrm rot="16200000">
            <a:off x="-990759" y="-962913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F6B4A01-E3B9-E39C-52CA-182B6566A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8" name="Graphic 7" descr="Badge 3 with solid fill">
            <a:extLst>
              <a:ext uri="{FF2B5EF4-FFF2-40B4-BE49-F238E27FC236}">
                <a16:creationId xmlns:a16="http://schemas.microsoft.com/office/drawing/2014/main" id="{4F4EBF5D-F8F8-1712-0D67-C890B1F35F7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9921" y="179385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A4266CE-B096-D264-A082-FFA2D9C347F4}"/>
              </a:ext>
            </a:extLst>
          </p:cNvPr>
          <p:cNvSpPr txBox="1"/>
          <p:nvPr/>
        </p:nvSpPr>
        <p:spPr>
          <a:xfrm>
            <a:off x="60208" y="2270875"/>
            <a:ext cx="7026367" cy="92685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742950" lvl="1" indent="-285750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 sz="2000" b="1">
                <a:solidFill>
                  <a:srgbClr val="000000"/>
                </a:solidFill>
                <a:latin typeface="DM Sans"/>
                <a:cs typeface="Arial"/>
              </a:rPr>
              <a:t>Engage physicians and nurses at the hospital</a:t>
            </a:r>
            <a:r>
              <a:rPr lang="en-US" sz="2000">
                <a:solidFill>
                  <a:srgbClr val="000000"/>
                </a:solidFill>
                <a:latin typeface="DM Sans"/>
                <a:cs typeface="Arial"/>
              </a:rPr>
              <a:t> in discussion of how racism and implicit bias are impacting ca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5328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1DF164C-6C8E-F933-CDE7-B27DEF5C5D66}"/>
              </a:ext>
            </a:extLst>
          </p:cNvPr>
          <p:cNvSpPr txBox="1">
            <a:spLocks/>
          </p:cNvSpPr>
          <p:nvPr/>
        </p:nvSpPr>
        <p:spPr>
          <a:xfrm>
            <a:off x="190440" y="255878"/>
            <a:ext cx="12170456" cy="1627487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i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acilitated Discussions Example:</a:t>
            </a:r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 Hospital-Implemented Practices with Tools for Adapt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8EEFACB-0687-4B68-E7F7-2F8CEA153D40}"/>
              </a:ext>
            </a:extLst>
          </p:cNvPr>
          <p:cNvSpPr txBox="1">
            <a:spLocks/>
          </p:cNvSpPr>
          <p:nvPr/>
        </p:nvSpPr>
        <p:spPr>
          <a:xfrm>
            <a:off x="59587" y="1714831"/>
            <a:ext cx="11856154" cy="10634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20B0604020202020204" pitchFamily="34" charset="0"/>
              <a:buChar char="q"/>
            </a:pPr>
            <a:r>
              <a:rPr lang="en-US">
                <a:solidFill>
                  <a:srgbClr val="F5668F"/>
                </a:solidFill>
                <a:latin typeface="Calibri"/>
                <a:ea typeface="Lato"/>
                <a:cs typeface="Lato"/>
              </a:rPr>
              <a:t>  </a:t>
            </a:r>
            <a:r>
              <a:rPr lang="en-US" b="1">
                <a:latin typeface="DM Sans"/>
                <a:ea typeface="Lato"/>
                <a:cs typeface="Lato"/>
              </a:rPr>
              <a:t>Conducting </a:t>
            </a:r>
            <a:r>
              <a:rPr lang="en-US" b="1">
                <a:solidFill>
                  <a:srgbClr val="000000"/>
                </a:solidFill>
                <a:latin typeface="DM Sans"/>
                <a:ea typeface="Lato"/>
                <a:cs typeface="Lato"/>
              </a:rPr>
              <a:t>Health Equity Rounds</a:t>
            </a:r>
            <a:endParaRPr lang="en-US">
              <a:solidFill>
                <a:srgbClr val="000000"/>
              </a:solidFill>
              <a:latin typeface="Calibri"/>
              <a:ea typeface="Lato"/>
              <a:cs typeface="Lato"/>
            </a:endParaRPr>
          </a:p>
        </p:txBody>
      </p:sp>
      <p:sp>
        <p:nvSpPr>
          <p:cNvPr id="7" name="Freeform 23">
            <a:extLst>
              <a:ext uri="{FF2B5EF4-FFF2-40B4-BE49-F238E27FC236}">
                <a16:creationId xmlns:a16="http://schemas.microsoft.com/office/drawing/2014/main" id="{2357908B-3ACD-2F38-DA9A-5878A958752A}"/>
              </a:ext>
            </a:extLst>
          </p:cNvPr>
          <p:cNvSpPr/>
          <p:nvPr/>
        </p:nvSpPr>
        <p:spPr>
          <a:xfrm flipV="1">
            <a:off x="11631887" y="-1079113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B54B6C90-20D5-70F5-C8AE-13CFC82096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150107"/>
              </p:ext>
            </p:extLst>
          </p:nvPr>
        </p:nvGraphicFramePr>
        <p:xfrm>
          <a:off x="574684" y="2248479"/>
          <a:ext cx="10816855" cy="4185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3114" name="Ink 3113">
                <a:extLst>
                  <a:ext uri="{FF2B5EF4-FFF2-40B4-BE49-F238E27FC236}">
                    <a16:creationId xmlns:a16="http://schemas.microsoft.com/office/drawing/2014/main" id="{BB3750AF-2022-C9C0-C47C-9E8EDA2A65E2}"/>
                  </a:ext>
                </a:extLst>
              </p14:cNvPr>
              <p14:cNvContentPartPr/>
              <p14:nvPr/>
            </p14:nvContentPartPr>
            <p14:xfrm>
              <a:off x="-404096" y="4360843"/>
              <a:ext cx="18506" cy="18361"/>
            </p14:xfrm>
          </p:contentPart>
        </mc:Choice>
        <mc:Fallback xmlns="">
          <p:pic>
            <p:nvPicPr>
              <p:cNvPr id="3114" name="Ink 3113">
                <a:extLst>
                  <a:ext uri="{FF2B5EF4-FFF2-40B4-BE49-F238E27FC236}">
                    <a16:creationId xmlns:a16="http://schemas.microsoft.com/office/drawing/2014/main" id="{BB3750AF-2022-C9C0-C47C-9E8EDA2A65E2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-421890" y="3442793"/>
                <a:ext cx="53739" cy="1836100"/>
              </a:xfrm>
              <a:prstGeom prst="rect">
                <a:avLst/>
              </a:prstGeom>
            </p:spPr>
          </p:pic>
        </mc:Fallback>
      </mc:AlternateContent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2376D03C-D685-4521-F6F4-236DC89433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98178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white object with black background&#10;&#10;Description automatically generated">
            <a:extLst>
              <a:ext uri="{FF2B5EF4-FFF2-40B4-BE49-F238E27FC236}">
                <a16:creationId xmlns:a16="http://schemas.microsoft.com/office/drawing/2014/main" id="{C3BC3C66-A4E2-A452-93C9-1618D77C72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8358" y="714728"/>
            <a:ext cx="4581172" cy="1611488"/>
          </a:xfrm>
          <a:prstGeom prst="rect">
            <a:avLst/>
          </a:prstGeom>
          <a:ln>
            <a:noFill/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5CF8736-CF94-7C4E-D38E-73EDEAE3BE52}"/>
              </a:ext>
            </a:extLst>
          </p:cNvPr>
          <p:cNvSpPr txBox="1">
            <a:spLocks/>
          </p:cNvSpPr>
          <p:nvPr/>
        </p:nvSpPr>
        <p:spPr>
          <a:xfrm>
            <a:off x="1523940" y="284100"/>
            <a:ext cx="9912679" cy="1627487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acilitated Discussion Example:</a:t>
            </a:r>
            <a:r>
              <a:rPr lang="en-US" sz="32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 Hospital-Implemented Practices with Tools for Adaptatio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C1A758B-11CF-30AA-57C3-72F03852AF49}"/>
              </a:ext>
            </a:extLst>
          </p:cNvPr>
          <p:cNvSpPr txBox="1">
            <a:spLocks/>
          </p:cNvSpPr>
          <p:nvPr/>
        </p:nvSpPr>
        <p:spPr>
          <a:xfrm>
            <a:off x="59587" y="1604662"/>
            <a:ext cx="11856154" cy="204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20B0604020202020204" pitchFamily="34" charset="0"/>
              <a:buChar char="q"/>
            </a:pPr>
            <a:r>
              <a:rPr lang="en-US" b="1">
                <a:solidFill>
                  <a:srgbClr val="F5668F"/>
                </a:solidFill>
                <a:latin typeface="DM Sans"/>
                <a:ea typeface="Lato"/>
                <a:cs typeface="Lato"/>
              </a:rPr>
              <a:t> </a:t>
            </a:r>
            <a:r>
              <a:rPr lang="en-US" sz="2400" b="1">
                <a:solidFill>
                  <a:srgbClr val="F5668F"/>
                </a:solidFill>
                <a:latin typeface="DM Sans"/>
                <a:ea typeface="Lato"/>
                <a:cs typeface="Lato"/>
              </a:rPr>
              <a:t> </a:t>
            </a:r>
            <a:r>
              <a:rPr lang="en-US" sz="2400" b="1">
                <a:latin typeface="DM Sans"/>
                <a:ea typeface="Lato"/>
                <a:cs typeface="Lato"/>
              </a:rPr>
              <a:t>Small Group Workshops </a:t>
            </a:r>
            <a:r>
              <a:rPr lang="en-US" sz="2400">
                <a:latin typeface="DM Sans"/>
                <a:ea typeface="Lato"/>
                <a:cs typeface="Lato"/>
              </a:rPr>
              <a:t>– Cedar Sinai  </a:t>
            </a:r>
            <a:endParaRPr lang="en-US" sz="2400" b="1">
              <a:solidFill>
                <a:srgbClr val="000000"/>
              </a:solidFill>
              <a:latin typeface="DM Sans"/>
              <a:ea typeface="Lato"/>
              <a:cs typeface="Lato"/>
            </a:endParaRPr>
          </a:p>
          <a:p>
            <a:pPr lvl="1"/>
            <a:r>
              <a:rPr lang="en-US" sz="2000" b="1">
                <a:latin typeface="DM Sans"/>
                <a:ea typeface="Lato"/>
                <a:cs typeface="Lato"/>
              </a:rPr>
              <a:t>Developed by Cedar Sinai </a:t>
            </a:r>
          </a:p>
          <a:p>
            <a:pPr lvl="1"/>
            <a:r>
              <a:rPr lang="en-US" sz="2000">
                <a:latin typeface="DM Sans"/>
                <a:ea typeface="Lato"/>
                <a:cs typeface="Lato"/>
              </a:rPr>
              <a:t>Small</a:t>
            </a:r>
            <a:r>
              <a:rPr lang="en-US" sz="2000">
                <a:latin typeface="DM Sans"/>
                <a:ea typeface="+mn-lt"/>
                <a:cs typeface="+mn-lt"/>
              </a:rPr>
              <a:t> group workshops to provide experiential learning through role-play to highlight examples of </a:t>
            </a:r>
            <a:r>
              <a:rPr lang="en-US" sz="2000" b="1">
                <a:latin typeface="DM Sans"/>
                <a:ea typeface="+mn-lt"/>
                <a:cs typeface="+mn-lt"/>
              </a:rPr>
              <a:t>implicit bias in the NICU</a:t>
            </a:r>
            <a:endParaRPr lang="en-US" b="1"/>
          </a:p>
          <a:p>
            <a:pPr lvl="1"/>
            <a:endParaRPr lang="en-US">
              <a:solidFill>
                <a:srgbClr val="000000"/>
              </a:solidFill>
              <a:latin typeface="Calibri"/>
              <a:ea typeface="Lato"/>
              <a:cs typeface="Lato"/>
            </a:endParaRPr>
          </a:p>
          <a:p>
            <a:pPr lvl="1"/>
            <a:endParaRPr lang="en-US">
              <a:solidFill>
                <a:srgbClr val="000000"/>
              </a:solidFill>
              <a:latin typeface="Calibri"/>
              <a:ea typeface="Lato"/>
              <a:cs typeface="Lato"/>
            </a:endParaRPr>
          </a:p>
          <a:p>
            <a:pPr lvl="2"/>
            <a:endParaRPr lang="en-US">
              <a:solidFill>
                <a:srgbClr val="000000"/>
              </a:solidFill>
              <a:latin typeface="Calibri"/>
              <a:ea typeface="Lato"/>
              <a:cs typeface="Lato"/>
            </a:endParaRPr>
          </a:p>
          <a:p>
            <a:pPr>
              <a:buFont typeface="Wingdings" panose="020B0604020202020204" pitchFamily="34" charset="0"/>
              <a:buChar char="q"/>
            </a:pPr>
            <a:endParaRPr lang="en-US">
              <a:solidFill>
                <a:srgbClr val="000000"/>
              </a:solidFill>
              <a:latin typeface="Calibri"/>
              <a:ea typeface="Lato"/>
              <a:cs typeface="Lato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242547-8889-9F47-6186-47CBD0946F00}"/>
              </a:ext>
            </a:extLst>
          </p:cNvPr>
          <p:cNvSpPr txBox="1"/>
          <p:nvPr/>
        </p:nvSpPr>
        <p:spPr>
          <a:xfrm>
            <a:off x="62024" y="3521996"/>
            <a:ext cx="5213582" cy="18866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742950" lvl="1" indent="-285750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 sz="2000" b="1" i="1">
                <a:solidFill>
                  <a:srgbClr val="000000"/>
                </a:solidFill>
                <a:latin typeface="DM Sans"/>
                <a:cs typeface="Arial"/>
              </a:rPr>
              <a:t>Resources </a:t>
            </a:r>
            <a:r>
              <a:rPr lang="en-US" sz="2000" b="1" i="1">
                <a:solidFill>
                  <a:srgbClr val="1C498B"/>
                </a:solidFill>
                <a:latin typeface="DM Sans"/>
                <a:cs typeface="Arial"/>
              </a:rPr>
              <a:t>YOUR</a:t>
            </a:r>
            <a:r>
              <a:rPr lang="en-US" sz="2000" b="1" i="1">
                <a:solidFill>
                  <a:srgbClr val="000000"/>
                </a:solidFill>
                <a:latin typeface="DM Sans"/>
                <a:cs typeface="Arial"/>
              </a:rPr>
              <a:t> Team Can Use:</a:t>
            </a:r>
          </a:p>
          <a:p>
            <a:pPr marL="1200150" lvl="2" indent="-285750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 sz="2000">
                <a:latin typeface="DM Sans"/>
                <a:cs typeface="Arial"/>
              </a:rPr>
              <a:t>Supplemental 10 item Likert scale pre/post workshop survey for participants </a:t>
            </a:r>
          </a:p>
          <a:p>
            <a:pPr marL="1200150" lvl="2" indent="-285750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en-US" sz="2000">
                <a:latin typeface="DM Sans"/>
                <a:cs typeface="Arial"/>
              </a:rPr>
              <a:t>NICU Example scenarios </a:t>
            </a:r>
            <a:r>
              <a:rPr lang="en-US" sz="2000" b="1" i="1">
                <a:solidFill>
                  <a:srgbClr val="1C498B"/>
                </a:solidFill>
                <a:latin typeface="DM Sans"/>
                <a:cs typeface="Arial"/>
              </a:rPr>
              <a:t>(or use your own!)</a:t>
            </a:r>
          </a:p>
        </p:txBody>
      </p:sp>
      <p:pic>
        <p:nvPicPr>
          <p:cNvPr id="8" name="Picture 7" descr="A cartoon of a person with her mouth open&#10;&#10;Description automatically generated">
            <a:extLst>
              <a:ext uri="{FF2B5EF4-FFF2-40B4-BE49-F238E27FC236}">
                <a16:creationId xmlns:a16="http://schemas.microsoft.com/office/drawing/2014/main" id="{C94C76DA-32C2-EFB4-2211-806DE110BA6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6875" y="3430060"/>
            <a:ext cx="6636488" cy="26675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691C8C-BB71-2250-06CD-E53216F7A9A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 amt="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38" y="5411118"/>
            <a:ext cx="1447800" cy="1447800"/>
          </a:xfrm>
          <a:prstGeom prst="rect">
            <a:avLst/>
          </a:prstGeom>
        </p:spPr>
      </p:pic>
      <p:sp>
        <p:nvSpPr>
          <p:cNvPr id="4" name="Freeform 32">
            <a:extLst>
              <a:ext uri="{FF2B5EF4-FFF2-40B4-BE49-F238E27FC236}">
                <a16:creationId xmlns:a16="http://schemas.microsoft.com/office/drawing/2014/main" id="{D869AE65-409F-C6C9-7204-11B651190E57}"/>
              </a:ext>
            </a:extLst>
          </p:cNvPr>
          <p:cNvSpPr/>
          <p:nvPr/>
        </p:nvSpPr>
        <p:spPr>
          <a:xfrm rot="16200000">
            <a:off x="10234630" y="-786524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A20F2E4-AE01-C67C-1858-DD840E737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2159" y="6408015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pic>
        <p:nvPicPr>
          <p:cNvPr id="11" name="Picture 10" descr="A close up of a snow&#10;&#10;Description automatically generated">
            <a:extLst>
              <a:ext uri="{FF2B5EF4-FFF2-40B4-BE49-F238E27FC236}">
                <a16:creationId xmlns:a16="http://schemas.microsoft.com/office/drawing/2014/main" id="{7F301ACB-E1F4-AE71-96D6-B0EAAB86E8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0441" y="5693149"/>
            <a:ext cx="2762250" cy="984250"/>
          </a:xfrm>
          <a:prstGeom prst="rect">
            <a:avLst/>
          </a:prstGeom>
          <a:ln>
            <a:noFill/>
          </a:ln>
        </p:spPr>
      </p:pic>
      <p:pic>
        <p:nvPicPr>
          <p:cNvPr id="12" name="Graphic 11" descr="Badge 3 with solid fill">
            <a:extLst>
              <a:ext uri="{FF2B5EF4-FFF2-40B4-BE49-F238E27FC236}">
                <a16:creationId xmlns:a16="http://schemas.microsoft.com/office/drawing/2014/main" id="{F3B23B59-B782-489B-D53A-34B58703FEC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0477" y="22877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5572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2022595-8B40-D177-3E0A-01CA4C18E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5AC1364A-3E3D-4F0D-8776-78AF3A270D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close up of a snow&#10;&#10;Description automatically generated">
            <a:extLst>
              <a:ext uri="{FF2B5EF4-FFF2-40B4-BE49-F238E27FC236}">
                <a16:creationId xmlns:a16="http://schemas.microsoft.com/office/drawing/2014/main" id="{92AB256A-A87F-4E0A-D8BC-436D79660F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32948" y="5876593"/>
            <a:ext cx="2762250" cy="984250"/>
          </a:xfrm>
          <a:prstGeom prst="rect">
            <a:avLst/>
          </a:prstGeom>
          <a:ln>
            <a:noFill/>
          </a:ln>
        </p:spPr>
      </p:pic>
      <p:pic>
        <p:nvPicPr>
          <p:cNvPr id="13" name="Picture 12" descr="A blue circle with a black background&#10;&#10;Description automatically generated">
            <a:extLst>
              <a:ext uri="{FF2B5EF4-FFF2-40B4-BE49-F238E27FC236}">
                <a16:creationId xmlns:a16="http://schemas.microsoft.com/office/drawing/2014/main" id="{22D2EA1F-9C0D-C8AA-9BF8-A939CB5BD2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7820" y="-2007618"/>
            <a:ext cx="3078665" cy="3907536"/>
          </a:xfrm>
          <a:prstGeom prst="rect">
            <a:avLst/>
          </a:prstGeom>
          <a:ln>
            <a:noFill/>
          </a:ln>
        </p:spPr>
      </p:pic>
      <p:sp>
        <p:nvSpPr>
          <p:cNvPr id="20" name="sketchy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97494" y="2395728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F9FF554-DE24-E3F9-4A31-4BD1A14B5871}"/>
              </a:ext>
            </a:extLst>
          </p:cNvPr>
          <p:cNvSpPr txBox="1">
            <a:spLocks/>
          </p:cNvSpPr>
          <p:nvPr/>
        </p:nvSpPr>
        <p:spPr>
          <a:xfrm>
            <a:off x="804050" y="1576889"/>
            <a:ext cx="11158292" cy="348386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DM Sans"/>
              </a:rPr>
              <a:t>Creating a system to </a:t>
            </a:r>
            <a:r>
              <a:rPr lang="en-US" sz="2200" b="1">
                <a:latin typeface="DM Sans"/>
              </a:rPr>
              <a:t>facilitate feedback from peers, parents, and families  </a:t>
            </a:r>
            <a:endParaRPr lang="en-US"/>
          </a:p>
          <a:p>
            <a:pPr marL="5715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b="1">
              <a:latin typeface="DM Sans"/>
            </a:endParaRPr>
          </a:p>
          <a:p>
            <a:pPr marL="5715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1">
                <a:latin typeface="DM Sans"/>
              </a:rPr>
              <a:t>Ex: </a:t>
            </a:r>
            <a:r>
              <a:rPr lang="en-US" sz="2200">
                <a:latin typeface="DM Sans"/>
              </a:rPr>
              <a:t>(In)equity Inbox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F44033D-ACF7-8562-F830-AB48D630D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410916" y="6398683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271F26-733D-C0DE-C532-93573E9AF3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86711" y="6462183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97033E4B-E3EB-3D46-B2D8-3159663620FA}" type="slidenum">
              <a:rPr lang="en-US" smtClean="0">
                <a:solidFill>
                  <a:schemeClr val="tx1">
                    <a:tint val="75000"/>
                  </a:schemeClr>
                </a:solidFill>
              </a:rPr>
              <a:pPr algn="r">
                <a:spcAft>
                  <a:spcPts val="600"/>
                </a:spcAft>
              </a:pPr>
              <a:t>28</a:t>
            </a:fld>
            <a:endParaRPr lang="en-US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3" name="Picture 2" descr="A screenshot of a social media page&#10;&#10;Description automatically generated">
            <a:extLst>
              <a:ext uri="{FF2B5EF4-FFF2-40B4-BE49-F238E27FC236}">
                <a16:creationId xmlns:a16="http://schemas.microsoft.com/office/drawing/2014/main" id="{85868828-9DD1-9466-3A3B-3C204760043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5496" y="2612450"/>
            <a:ext cx="2767594" cy="378968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53DF2AA-37C4-ABC0-4B24-F43B686F0698}"/>
              </a:ext>
            </a:extLst>
          </p:cNvPr>
          <p:cNvSpPr txBox="1">
            <a:spLocks/>
          </p:cNvSpPr>
          <p:nvPr/>
        </p:nvSpPr>
        <p:spPr>
          <a:xfrm>
            <a:off x="1285859" y="400564"/>
            <a:ext cx="10269620" cy="10653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eedbac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308F75-5753-1F73-546E-ADACED0B5C59}"/>
              </a:ext>
            </a:extLst>
          </p:cNvPr>
          <p:cNvSpPr/>
          <p:nvPr/>
        </p:nvSpPr>
        <p:spPr>
          <a:xfrm>
            <a:off x="4381500" y="2088445"/>
            <a:ext cx="3993444" cy="620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phic 14" descr="Badge 4 with solid fill">
            <a:extLst>
              <a:ext uri="{FF2B5EF4-FFF2-40B4-BE49-F238E27FC236}">
                <a16:creationId xmlns:a16="http://schemas.microsoft.com/office/drawing/2014/main" id="{4210258D-9010-CEAC-F265-BD6430F0410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3752" y="477099"/>
            <a:ext cx="914400" cy="91440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67069FED-C0E1-E35D-880F-D0DB6EF5B8B3}"/>
              </a:ext>
            </a:extLst>
          </p:cNvPr>
          <p:cNvSpPr txBox="1">
            <a:spLocks/>
          </p:cNvSpPr>
          <p:nvPr/>
        </p:nvSpPr>
        <p:spPr>
          <a:xfrm>
            <a:off x="881661" y="2501166"/>
            <a:ext cx="4483737" cy="378019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b="1">
              <a:latin typeface="DM Sans"/>
              <a:ea typeface="+mn-ea"/>
              <a:cs typeface="+mn-cs"/>
            </a:endParaRPr>
          </a:p>
          <a:p>
            <a:pPr marL="5715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latin typeface="DM Sans"/>
                <a:ea typeface="+mn-ea"/>
                <a:cs typeface="+mn-cs"/>
              </a:rPr>
              <a:t>A model for addressing bias in the clinical environment   </a:t>
            </a:r>
          </a:p>
          <a:p>
            <a:pPr marL="1028700" lvl="1" indent="-2286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Courier New" panose="020B0604020202020204" pitchFamily="34" charset="0"/>
              <a:buChar char="o"/>
            </a:pPr>
            <a:r>
              <a:rPr lang="en-US" sz="1600">
                <a:latin typeface="DM Sans"/>
              </a:rPr>
              <a:t>Utilized by Mass General</a:t>
            </a:r>
          </a:p>
          <a:p>
            <a:pPr marL="5715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latin typeface="DM Sans"/>
              </a:rPr>
              <a:t>An anonymous survey that can be utilized by colleagues to </a:t>
            </a:r>
            <a:r>
              <a:rPr lang="en-US" sz="2000" b="1">
                <a:latin typeface="DM Sans"/>
              </a:rPr>
              <a:t>report instances</a:t>
            </a:r>
            <a:r>
              <a:rPr lang="en-US" sz="2000">
                <a:latin typeface="DM Sans"/>
              </a:rPr>
              <a:t> of microaggressions, biases, and unequal treatment in the environment  </a:t>
            </a:r>
          </a:p>
          <a:p>
            <a:pPr marL="5715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latin typeface="DM Sans"/>
            </a:endParaRPr>
          </a:p>
        </p:txBody>
      </p:sp>
      <p:pic>
        <p:nvPicPr>
          <p:cNvPr id="5" name="Picture 4" descr="A screenshot of a medical report&#10;&#10;Description automatically generated">
            <a:extLst>
              <a:ext uri="{FF2B5EF4-FFF2-40B4-BE49-F238E27FC236}">
                <a16:creationId xmlns:a16="http://schemas.microsoft.com/office/drawing/2014/main" id="{F63664A2-141E-CC71-2E7C-CDE9A20328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22277" y="2093997"/>
            <a:ext cx="3282173" cy="4368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1581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A6F95A4-E644-E141-85AC-FEE639D9083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600" y="1825625"/>
          <a:ext cx="6489148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4B5DC-0432-49B8-02DA-1B7242F7B8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8625FE-B64F-8473-62B7-FF30B54DF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04A281-746F-C7C8-CF71-ECB6B5CBF987}"/>
              </a:ext>
            </a:extLst>
          </p:cNvPr>
          <p:cNvSpPr/>
          <p:nvPr/>
        </p:nvSpPr>
        <p:spPr>
          <a:xfrm>
            <a:off x="7923068" y="2289512"/>
            <a:ext cx="3565584" cy="35094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QR Code</a:t>
            </a:r>
            <a:endParaRPr lang="en-US" sz="3200"/>
          </a:p>
        </p:txBody>
      </p:sp>
      <p:pic>
        <p:nvPicPr>
          <p:cNvPr id="38" name="Graphic 37" descr="Badge 1 with solid fill">
            <a:extLst>
              <a:ext uri="{FF2B5EF4-FFF2-40B4-BE49-F238E27FC236}">
                <a16:creationId xmlns:a16="http://schemas.microsoft.com/office/drawing/2014/main" id="{7280F87C-D391-AE08-9C9D-1DEC3C9E372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366" y="2296064"/>
            <a:ext cx="914400" cy="914400"/>
          </a:xfrm>
          <a:prstGeom prst="rect">
            <a:avLst/>
          </a:prstGeom>
        </p:spPr>
      </p:pic>
      <p:pic>
        <p:nvPicPr>
          <p:cNvPr id="39" name="Graphic 38" descr="Badge with solid fill">
            <a:extLst>
              <a:ext uri="{FF2B5EF4-FFF2-40B4-BE49-F238E27FC236}">
                <a16:creationId xmlns:a16="http://schemas.microsoft.com/office/drawing/2014/main" id="{5C95010D-F147-72CD-70DB-706F39F6FFD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56385" y="2296064"/>
            <a:ext cx="914400" cy="914400"/>
          </a:xfrm>
          <a:prstGeom prst="rect">
            <a:avLst/>
          </a:prstGeom>
        </p:spPr>
      </p:pic>
      <p:pic>
        <p:nvPicPr>
          <p:cNvPr id="94" name="Graphic 93" descr="Badge 3 with solid fill">
            <a:extLst>
              <a:ext uri="{FF2B5EF4-FFF2-40B4-BE49-F238E27FC236}">
                <a16:creationId xmlns:a16="http://schemas.microsoft.com/office/drawing/2014/main" id="{F0171824-883A-E897-C316-FF24C292F29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7366" y="4697083"/>
            <a:ext cx="914400" cy="914400"/>
          </a:xfrm>
          <a:prstGeom prst="rect">
            <a:avLst/>
          </a:prstGeom>
        </p:spPr>
      </p:pic>
      <p:pic>
        <p:nvPicPr>
          <p:cNvPr id="95" name="Graphic 94" descr="Badge 4 with solid fill">
            <a:extLst>
              <a:ext uri="{FF2B5EF4-FFF2-40B4-BE49-F238E27FC236}">
                <a16:creationId xmlns:a16="http://schemas.microsoft.com/office/drawing/2014/main" id="{307CCD85-F7F2-75D1-B7CB-F0F348C29BE7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56385" y="4697083"/>
            <a:ext cx="914400" cy="914400"/>
          </a:xfrm>
          <a:prstGeom prst="rect">
            <a:avLst/>
          </a:prstGeom>
        </p:spPr>
      </p:pic>
      <p:pic>
        <p:nvPicPr>
          <p:cNvPr id="13" name="Picture 12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D1010B63-6F0D-6A52-B77E-08080955E50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39972" y="2373872"/>
            <a:ext cx="3324225" cy="3333750"/>
          </a:xfrm>
          <a:prstGeom prst="rect">
            <a:avLst/>
          </a:prstGeom>
        </p:spPr>
      </p:pic>
      <p:sp>
        <p:nvSpPr>
          <p:cNvPr id="27" name="TextBox 45">
            <a:extLst>
              <a:ext uri="{FF2B5EF4-FFF2-40B4-BE49-F238E27FC236}">
                <a16:creationId xmlns:a16="http://schemas.microsoft.com/office/drawing/2014/main" id="{880C80B2-984E-4C91-03F3-2781C2F14BCD}"/>
              </a:ext>
            </a:extLst>
          </p:cNvPr>
          <p:cNvSpPr txBox="1"/>
          <p:nvPr/>
        </p:nvSpPr>
        <p:spPr>
          <a:xfrm>
            <a:off x="532236" y="493269"/>
            <a:ext cx="8968160" cy="10634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40"/>
              </a:lnSpc>
            </a:pPr>
            <a:r>
              <a:rPr lang="en-US" sz="4000" b="1">
                <a:latin typeface="DM Sans"/>
              </a:rPr>
              <a:t>Get to </a:t>
            </a:r>
            <a:r>
              <a:rPr lang="en-US" sz="4000" b="1">
                <a:solidFill>
                  <a:srgbClr val="00B050"/>
                </a:solidFill>
                <a:latin typeface="DM Sans"/>
              </a:rPr>
              <a:t>GREEN:</a:t>
            </a:r>
          </a:p>
          <a:p>
            <a:pPr>
              <a:lnSpc>
                <a:spcPts val="2640"/>
              </a:lnSpc>
            </a:pPr>
            <a:endParaRPr lang="en-US" sz="4000" b="1">
              <a:solidFill>
                <a:srgbClr val="00B050"/>
              </a:solidFill>
              <a:latin typeface="DM Sans"/>
            </a:endParaRPr>
          </a:p>
          <a:p>
            <a:pPr>
              <a:lnSpc>
                <a:spcPts val="2640"/>
              </a:lnSpc>
            </a:pPr>
            <a:r>
              <a:rPr lang="en-US" sz="4000" b="1">
                <a:solidFill>
                  <a:srgbClr val="00B050"/>
                </a:solidFill>
                <a:latin typeface="DM Sans"/>
              </a:rPr>
              <a:t>Education Plan Components</a:t>
            </a:r>
          </a:p>
        </p:txBody>
      </p:sp>
    </p:spTree>
    <p:extLst>
      <p:ext uri="{BB962C8B-B14F-4D97-AF65-F5344CB8AC3E}">
        <p14:creationId xmlns:p14="http://schemas.microsoft.com/office/powerpoint/2010/main" val="31563694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E23CA24-BB1C-352E-DF4F-F62D3865BC86}"/>
              </a:ext>
            </a:extLst>
          </p:cNvPr>
          <p:cNvSpPr txBox="1">
            <a:spLocks/>
          </p:cNvSpPr>
          <p:nvPr/>
        </p:nvSpPr>
        <p:spPr>
          <a:xfrm>
            <a:off x="1328644" y="2493730"/>
            <a:ext cx="5194433" cy="79622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2024 Face to Face</a:t>
            </a:r>
          </a:p>
        </p:txBody>
      </p:sp>
    </p:spTree>
    <p:extLst>
      <p:ext uri="{BB962C8B-B14F-4D97-AF65-F5344CB8AC3E}">
        <p14:creationId xmlns:p14="http://schemas.microsoft.com/office/powerpoint/2010/main" val="35589601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134FEB4-2731-3FC3-1BA0-47E1C6C9F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and white paint on a black background&#10;&#10;Description automatically generated">
            <a:extLst>
              <a:ext uri="{FF2B5EF4-FFF2-40B4-BE49-F238E27FC236}">
                <a16:creationId xmlns:a16="http://schemas.microsoft.com/office/drawing/2014/main" id="{5DF407C2-305B-55CA-1BFB-EB360EC1C7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99230" y="702381"/>
            <a:ext cx="3816349" cy="3216627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DDA825D-4829-111F-EAFA-DD3F2F2D6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2670" y="2569388"/>
            <a:ext cx="10269620" cy="847565"/>
          </a:xfrm>
        </p:spPr>
        <p:txBody>
          <a:bodyPr/>
          <a:lstStyle/>
          <a:p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Resources for </a:t>
            </a:r>
            <a:r>
              <a:rPr lang="en-US" i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Respectful Care Practices</a:t>
            </a:r>
            <a:endParaRPr lang="en-US" i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2B2B2-E382-324A-D01A-5D69771462D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C0471C-AE8C-3A92-D5E6-7ECF93281AB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35091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 descr="A black background with white dots&#10;&#10;Description automatically generated">
            <a:extLst>
              <a:ext uri="{FF2B5EF4-FFF2-40B4-BE49-F238E27FC236}">
                <a16:creationId xmlns:a16="http://schemas.microsoft.com/office/drawing/2014/main" id="{DD93EB28-89D2-BF0A-D2EB-20AA380313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75697" y="-1114425"/>
            <a:ext cx="781050" cy="299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6648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FB33DC6A-1F1C-4A06-834E-CFF88F1C0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" name="Freeform: Shape 11">
            <a:extLst>
              <a:ext uri="{FF2B5EF4-FFF2-40B4-BE49-F238E27FC236}">
                <a16:creationId xmlns:a16="http://schemas.microsoft.com/office/drawing/2014/main" id="{0FE1D5CF-87B8-4A8A-AD3C-01D06A607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6208641" cy="6858000"/>
          </a:xfrm>
          <a:custGeom>
            <a:avLst/>
            <a:gdLst>
              <a:gd name="connsiteX0" fmla="*/ 0 w 6208641"/>
              <a:gd name="connsiteY0" fmla="*/ 0 h 6858000"/>
              <a:gd name="connsiteX1" fmla="*/ 5464181 w 6208641"/>
              <a:gd name="connsiteY1" fmla="*/ 0 h 6858000"/>
              <a:gd name="connsiteX2" fmla="*/ 5538086 w 6208641"/>
              <a:gd name="connsiteY2" fmla="*/ 159684 h 6858000"/>
              <a:gd name="connsiteX3" fmla="*/ 6208641 w 6208641"/>
              <a:gd name="connsiteY3" fmla="*/ 3706589 h 6858000"/>
              <a:gd name="connsiteX4" fmla="*/ 5734754 w 6208641"/>
              <a:gd name="connsiteY4" fmla="*/ 6730443 h 6858000"/>
              <a:gd name="connsiteX5" fmla="*/ 5689361 w 6208641"/>
              <a:gd name="connsiteY5" fmla="*/ 6858000 h 6858000"/>
              <a:gd name="connsiteX6" fmla="*/ 0 w 620864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8641" h="6858000">
                <a:moveTo>
                  <a:pt x="0" y="0"/>
                </a:moveTo>
                <a:lnTo>
                  <a:pt x="5464181" y="0"/>
                </a:lnTo>
                <a:lnTo>
                  <a:pt x="5538086" y="159684"/>
                </a:lnTo>
                <a:cubicBezTo>
                  <a:pt x="5961440" y="1172168"/>
                  <a:pt x="6208641" y="2392735"/>
                  <a:pt x="6208641" y="3706589"/>
                </a:cubicBezTo>
                <a:cubicBezTo>
                  <a:pt x="6208641" y="4801467"/>
                  <a:pt x="6036974" y="5831563"/>
                  <a:pt x="5734754" y="6730443"/>
                </a:cubicBezTo>
                <a:lnTo>
                  <a:pt x="5689361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60926200-45C2-41E9-839F-31CD5FE4CD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203325" cy="6858000"/>
          </a:xfrm>
          <a:custGeom>
            <a:avLst/>
            <a:gdLst>
              <a:gd name="connsiteX0" fmla="*/ 0 w 6203325"/>
              <a:gd name="connsiteY0" fmla="*/ 0 h 6858000"/>
              <a:gd name="connsiteX1" fmla="*/ 5458865 w 6203325"/>
              <a:gd name="connsiteY1" fmla="*/ 0 h 6858000"/>
              <a:gd name="connsiteX2" fmla="*/ 5532770 w 6203325"/>
              <a:gd name="connsiteY2" fmla="*/ 159684 h 6858000"/>
              <a:gd name="connsiteX3" fmla="*/ 6203325 w 6203325"/>
              <a:gd name="connsiteY3" fmla="*/ 3706589 h 6858000"/>
              <a:gd name="connsiteX4" fmla="*/ 5729438 w 6203325"/>
              <a:gd name="connsiteY4" fmla="*/ 6730443 h 6858000"/>
              <a:gd name="connsiteX5" fmla="*/ 5684045 w 6203325"/>
              <a:gd name="connsiteY5" fmla="*/ 6858000 h 6858000"/>
              <a:gd name="connsiteX6" fmla="*/ 0 w 620332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325" h="6858000">
                <a:moveTo>
                  <a:pt x="0" y="0"/>
                </a:moveTo>
                <a:lnTo>
                  <a:pt x="5458865" y="0"/>
                </a:lnTo>
                <a:lnTo>
                  <a:pt x="5532770" y="159684"/>
                </a:lnTo>
                <a:cubicBezTo>
                  <a:pt x="5956124" y="1172168"/>
                  <a:pt x="6203325" y="2392735"/>
                  <a:pt x="6203325" y="3706589"/>
                </a:cubicBezTo>
                <a:cubicBezTo>
                  <a:pt x="6203325" y="4801467"/>
                  <a:pt x="6031658" y="5831563"/>
                  <a:pt x="5729438" y="6730443"/>
                </a:cubicBezTo>
                <a:lnTo>
                  <a:pt x="568404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6FA345A-9115-2EC6-1F35-8D4271906D3B}"/>
              </a:ext>
            </a:extLst>
          </p:cNvPr>
          <p:cNvSpPr txBox="1">
            <a:spLocks/>
          </p:cNvSpPr>
          <p:nvPr/>
        </p:nvSpPr>
        <p:spPr>
          <a:xfrm>
            <a:off x="489098" y="864993"/>
            <a:ext cx="5911171" cy="66931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3200" b="1">
                <a:solidFill>
                  <a:srgbClr val="1C498B"/>
                </a:solidFill>
                <a:latin typeface="Prompt"/>
                <a:cs typeface="Prompt"/>
              </a:rPr>
              <a:t>What is Respectful Care?</a:t>
            </a:r>
            <a:endParaRPr lang="en-US" sz="5400">
              <a:solidFill>
                <a:srgbClr val="1C498B"/>
              </a:solidFill>
              <a:latin typeface="Prompt"/>
              <a:cs typeface="Promp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67989" y="346791"/>
            <a:ext cx="146304" cy="704088"/>
          </a:xfrm>
          <a:prstGeom prst="rect">
            <a:avLst/>
          </a:prstGeom>
          <a:solidFill>
            <a:srgbClr val="F566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Picture 3" descr="A person holding a baby&#10;&#10;Description automatically generated">
            <a:extLst>
              <a:ext uri="{FF2B5EF4-FFF2-40B4-BE49-F238E27FC236}">
                <a16:creationId xmlns:a16="http://schemas.microsoft.com/office/drawing/2014/main" id="{EBF9B272-AEE4-9141-39AB-699D3D5A72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2905" y="640061"/>
            <a:ext cx="4724974" cy="586308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098" y="4546920"/>
            <a:ext cx="5019074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BAEDEA5-EBC0-20F3-5139-AA49CBA25633}"/>
              </a:ext>
            </a:extLst>
          </p:cNvPr>
          <p:cNvSpPr txBox="1">
            <a:spLocks/>
          </p:cNvSpPr>
          <p:nvPr/>
        </p:nvSpPr>
        <p:spPr>
          <a:xfrm>
            <a:off x="339087" y="1764866"/>
            <a:ext cx="6776339" cy="4494869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lnSpc>
                <a:spcPct val="150000"/>
              </a:lnSpc>
              <a:spcAft>
                <a:spcPts val="6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ptos Display"/>
                <a:ea typeface="+mj-lt"/>
                <a:cs typeface="Prompt"/>
              </a:rPr>
              <a:t>Ensures that patients receive </a:t>
            </a:r>
            <a:r>
              <a:rPr lang="en-US" sz="2400" b="1">
                <a:solidFill>
                  <a:srgbClr val="000000"/>
                </a:solidFill>
                <a:latin typeface="Aptos Display"/>
                <a:ea typeface="+mj-lt"/>
                <a:cs typeface="Prompt"/>
              </a:rPr>
              <a:t>patient-centered care, feel respected and listened to, and the individual needs and preferences of all birthing people are valued and met.</a:t>
            </a:r>
            <a:endParaRPr lang="en-US" sz="2400" b="1">
              <a:solidFill>
                <a:srgbClr val="000000"/>
              </a:solidFill>
              <a:latin typeface="Aptos Display"/>
              <a:cs typeface="Prompt"/>
            </a:endParaRP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ptos Display"/>
                <a:cs typeface="Prompt"/>
              </a:rPr>
              <a:t>ILPQC Birth Equity Teams have:</a:t>
            </a:r>
          </a:p>
          <a:p>
            <a:pPr marL="914400" lvl="1" indent="-45720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Font typeface="Courier New"/>
              <a:buChar char="o"/>
            </a:pPr>
            <a:r>
              <a:rPr lang="en-US" sz="2100" b="1">
                <a:solidFill>
                  <a:srgbClr val="000000"/>
                </a:solidFill>
                <a:ea typeface="+mn-lt"/>
                <a:cs typeface="+mn-lt"/>
              </a:rPr>
              <a:t>Posted and signed off on  ILPQC's Respectful </a:t>
            </a:r>
            <a:r>
              <a:rPr lang="en-US" sz="2100">
                <a:solidFill>
                  <a:srgbClr val="000000"/>
                </a:solidFill>
                <a:ea typeface="+mn-lt"/>
                <a:cs typeface="+mn-lt"/>
              </a:rPr>
              <a:t>Care Commitments</a:t>
            </a:r>
            <a:endParaRPr lang="en-US" sz="2000" b="1">
              <a:solidFill>
                <a:srgbClr val="000000"/>
              </a:solidFill>
              <a:ea typeface="+mn-lt"/>
              <a:cs typeface="+mn-lt"/>
            </a:endParaRPr>
          </a:p>
          <a:p>
            <a:pPr marL="914400" lvl="1" indent="-45720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Font typeface="Courier New"/>
              <a:buChar char="o"/>
            </a:pPr>
            <a:r>
              <a:rPr lang="en-US" sz="2000" b="1">
                <a:solidFill>
                  <a:srgbClr val="000000"/>
                </a:solidFill>
                <a:latin typeface="Aptos Display"/>
                <a:cs typeface="Prompt"/>
              </a:rPr>
              <a:t>Implemented</a:t>
            </a:r>
            <a:r>
              <a:rPr lang="en-US" sz="2000">
                <a:solidFill>
                  <a:srgbClr val="000000"/>
                </a:solidFill>
                <a:latin typeface="Aptos Display"/>
                <a:cs typeface="Prompt"/>
              </a:rPr>
              <a:t> PREM Surveys to obtain feedback on how to best improve practices </a:t>
            </a:r>
            <a:endParaRPr lang="en-US" sz="2000" b="1">
              <a:solidFill>
                <a:srgbClr val="000000"/>
              </a:solidFill>
              <a:latin typeface="Aptos Display"/>
              <a:cs typeface="Prompt"/>
            </a:endParaRPr>
          </a:p>
          <a:p>
            <a:pPr marL="914400" lvl="1" indent="-45720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Font typeface="Courier New"/>
              <a:buChar char="o"/>
            </a:pPr>
            <a:endParaRPr lang="en-US" sz="2000">
              <a:solidFill>
                <a:srgbClr val="000000"/>
              </a:solidFill>
              <a:latin typeface="Aptos Display"/>
              <a:cs typeface="Prompt"/>
            </a:endParaRPr>
          </a:p>
          <a:p>
            <a:pPr indent="-457200">
              <a:spcAft>
                <a:spcPts val="600"/>
              </a:spcAft>
              <a:buFont typeface="Arial"/>
              <a:buChar char="•"/>
            </a:pPr>
            <a:endParaRPr lang="en-US" sz="2400">
              <a:latin typeface="Aptos Display"/>
              <a:cs typeface="Prompt"/>
            </a:endParaRPr>
          </a:p>
        </p:txBody>
      </p:sp>
    </p:spTree>
    <p:extLst>
      <p:ext uri="{BB962C8B-B14F-4D97-AF65-F5344CB8AC3E}">
        <p14:creationId xmlns:p14="http://schemas.microsoft.com/office/powerpoint/2010/main" val="25035959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cloud on a black background&#10;&#10;Description automatically generated">
            <a:extLst>
              <a:ext uri="{FF2B5EF4-FFF2-40B4-BE49-F238E27FC236}">
                <a16:creationId xmlns:a16="http://schemas.microsoft.com/office/drawing/2014/main" id="{D871A503-23FB-EE33-8CF4-FDC8DA5B2A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1061" y="3474839"/>
            <a:ext cx="1592801" cy="3546259"/>
          </a:xfrm>
          <a:prstGeom prst="rect">
            <a:avLst/>
          </a:prstGeom>
          <a:ln>
            <a:noFill/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ADC0547-5E97-EE89-A9F3-3D3E822F0FA8}"/>
              </a:ext>
            </a:extLst>
          </p:cNvPr>
          <p:cNvSpPr txBox="1">
            <a:spLocks/>
          </p:cNvSpPr>
          <p:nvPr/>
        </p:nvSpPr>
        <p:spPr>
          <a:xfrm>
            <a:off x="223669" y="193061"/>
            <a:ext cx="11436679" cy="1105376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Why is Respectful Care Integral to ESSI?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28C267F-D634-3898-5F27-33D0A5C5B94E}"/>
              </a:ext>
            </a:extLst>
          </p:cNvPr>
          <p:cNvSpPr txBox="1">
            <a:spLocks/>
          </p:cNvSpPr>
          <p:nvPr/>
        </p:nvSpPr>
        <p:spPr>
          <a:xfrm>
            <a:off x="397132" y="1127897"/>
            <a:ext cx="9014927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Font typeface="Wingdings" panose="020B0604020202020204" pitchFamily="34" charset="0"/>
              <a:buChar char="q"/>
            </a:pPr>
            <a:r>
              <a:rPr lang="en-US">
                <a:solidFill>
                  <a:srgbClr val="F5668F"/>
                </a:solidFill>
                <a:latin typeface="DM Sans"/>
                <a:ea typeface="Lato"/>
                <a:cs typeface="Lato"/>
              </a:rPr>
              <a:t>   </a:t>
            </a:r>
            <a:r>
              <a:rPr lang="en-US">
                <a:latin typeface="DM Sans"/>
                <a:ea typeface="Lato"/>
                <a:cs typeface="Lato"/>
              </a:rPr>
              <a:t>Safe sleep is </a:t>
            </a:r>
            <a:r>
              <a:rPr lang="en-US" b="1">
                <a:latin typeface="DM Sans"/>
                <a:ea typeface="Lato"/>
                <a:cs typeface="Lato"/>
              </a:rPr>
              <a:t>more </a:t>
            </a:r>
            <a:r>
              <a:rPr lang="en-US">
                <a:latin typeface="DM Sans"/>
                <a:ea typeface="Lato"/>
                <a:cs typeface="Lato"/>
              </a:rPr>
              <a:t>than advising families on AAP's recommendations</a:t>
            </a:r>
            <a:endParaRPr lang="en-US"/>
          </a:p>
          <a:p>
            <a:pPr>
              <a:lnSpc>
                <a:spcPct val="150000"/>
              </a:lnSpc>
              <a:buFont typeface="Wingdings" panose="020B0604020202020204" pitchFamily="34" charset="0"/>
              <a:buChar char="q"/>
            </a:pPr>
            <a:r>
              <a:rPr lang="en-US">
                <a:solidFill>
                  <a:srgbClr val="F5668F"/>
                </a:solidFill>
                <a:latin typeface="DM Sans"/>
                <a:ea typeface="Lato"/>
                <a:cs typeface="Lato"/>
              </a:rPr>
              <a:t> </a:t>
            </a:r>
            <a:r>
              <a:rPr lang="en-US">
                <a:latin typeface="DM Sans"/>
                <a:ea typeface="Lato"/>
                <a:cs typeface="Lato"/>
              </a:rPr>
              <a:t> Health care providers should tailor educational methods to address the needs, beliefs, and context of the family.  </a:t>
            </a:r>
          </a:p>
          <a:p>
            <a:pPr lvl="1">
              <a:lnSpc>
                <a:spcPct val="150000"/>
              </a:lnSpc>
              <a:buFont typeface="Courier New" panose="020B0604020202020204" pitchFamily="34" charset="0"/>
              <a:buChar char="o"/>
            </a:pPr>
            <a:r>
              <a:rPr lang="en-US" u="sng">
                <a:latin typeface="DM Sans"/>
                <a:ea typeface="Lato"/>
                <a:cs typeface="Lato"/>
              </a:rPr>
              <a:t>Sustain </a:t>
            </a:r>
            <a:r>
              <a:rPr lang="en-US">
                <a:latin typeface="DM Sans"/>
                <a:ea typeface="Lato"/>
                <a:cs typeface="Lato"/>
              </a:rPr>
              <a:t>safe sleep practices </a:t>
            </a:r>
          </a:p>
          <a:p>
            <a:pPr marL="0" indent="0">
              <a:buNone/>
            </a:pPr>
            <a:endParaRPr lang="en-US">
              <a:ea typeface="Lato"/>
              <a:cs typeface="Lato"/>
            </a:endParaRPr>
          </a:p>
          <a:p>
            <a:pPr>
              <a:buFont typeface="Wingdings" panose="020B0604020202020204" pitchFamily="34" charset="0"/>
              <a:buChar char="q"/>
            </a:pPr>
            <a:endParaRPr lang="en-US">
              <a:ea typeface="Lato"/>
              <a:cs typeface="Lato"/>
            </a:endParaRPr>
          </a:p>
        </p:txBody>
      </p:sp>
      <p:pic>
        <p:nvPicPr>
          <p:cNvPr id="13" name="Picture 12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0CFAFA7-6FBC-59DF-E22A-1149674A6DD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pic>
        <p:nvPicPr>
          <p:cNvPr id="14" name="Picture 13" descr="A blue sky with a black border&#10;&#10;Description automatically generated">
            <a:extLst>
              <a:ext uri="{FF2B5EF4-FFF2-40B4-BE49-F238E27FC236}">
                <a16:creationId xmlns:a16="http://schemas.microsoft.com/office/drawing/2014/main" id="{2B69C350-F004-B8ED-9201-16F0669E23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20080" y="-1530645"/>
            <a:ext cx="1409700" cy="3238500"/>
          </a:xfrm>
          <a:prstGeom prst="rect">
            <a:avLst/>
          </a:prstGeom>
          <a:ln>
            <a:noFill/>
          </a:ln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8F81A00-3B48-CC01-2554-ACDE9CC0C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17" name="Picture 16" descr="A black background with white dots&#10;&#10;Description automatically generated">
            <a:extLst>
              <a:ext uri="{FF2B5EF4-FFF2-40B4-BE49-F238E27FC236}">
                <a16:creationId xmlns:a16="http://schemas.microsoft.com/office/drawing/2014/main" id="{8C29CEDE-2D25-F6D4-317F-EC72A3CA52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53586" y="-542925"/>
            <a:ext cx="781050" cy="299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5850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white blob of paint&#10;&#10;Description automatically generated">
            <a:extLst>
              <a:ext uri="{FF2B5EF4-FFF2-40B4-BE49-F238E27FC236}">
                <a16:creationId xmlns:a16="http://schemas.microsoft.com/office/drawing/2014/main" id="{1DE6BAE1-FF45-56F7-E875-6BC199F9E7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8479" y="-1322798"/>
            <a:ext cx="3971539" cy="3429969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C03B97-F91F-5C26-7B79-00E0DB69B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266" y="248333"/>
            <a:ext cx="11442210" cy="883501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US" sz="2400" b="1">
                <a:solidFill>
                  <a:srgbClr val="1C498B"/>
                </a:solidFill>
                <a:latin typeface="Aptos"/>
                <a:cs typeface="Prompt"/>
              </a:rPr>
              <a:t>Implementation of Respectful Care Practices Requires Engagement and Support!</a:t>
            </a:r>
            <a:endParaRPr lang="en-US" sz="2400">
              <a:solidFill>
                <a:srgbClr val="1C498B"/>
              </a:solidFill>
              <a:latin typeface="Aptos"/>
              <a:cs typeface="Prompt"/>
            </a:endParaRPr>
          </a:p>
        </p:txBody>
      </p:sp>
      <p:pic>
        <p:nvPicPr>
          <p:cNvPr id="7" name="Graphic 6" descr="Meeting outline">
            <a:extLst>
              <a:ext uri="{FF2B5EF4-FFF2-40B4-BE49-F238E27FC236}">
                <a16:creationId xmlns:a16="http://schemas.microsoft.com/office/drawing/2014/main" id="{3398751E-4D34-1AF8-623F-43A6FA61BD37}"/>
              </a:ext>
            </a:extLst>
          </p:cNvPr>
          <p:cNvPicPr>
            <a:picLocks noGrp="1"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2632" y="803049"/>
            <a:ext cx="2470743" cy="2470743"/>
          </a:xfrm>
          <a:prstGeom prst="rect">
            <a:avLst/>
          </a:prstGeom>
        </p:spPr>
      </p:pic>
      <p:pic>
        <p:nvPicPr>
          <p:cNvPr id="8" name="Graphic 8" descr="Cheers outline">
            <a:extLst>
              <a:ext uri="{FF2B5EF4-FFF2-40B4-BE49-F238E27FC236}">
                <a16:creationId xmlns:a16="http://schemas.microsoft.com/office/drawing/2014/main" id="{17077382-2543-2907-6D92-372C6886278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3232" y="3430242"/>
            <a:ext cx="2438400" cy="2438400"/>
          </a:xfrm>
          <a:prstGeom prst="rect">
            <a:avLst/>
          </a:prstGeom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427D6B-E22E-C7B2-7E6C-15F100C203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83444" y="976455"/>
            <a:ext cx="8015493" cy="2408123"/>
          </a:xfrm>
        </p:spPr>
        <p:txBody>
          <a:bodyPr vert="horz" lIns="91440" tIns="45720" rIns="91440" bIns="45720" rtlCol="0" anchor="t">
            <a:normAutofit fontScale="77500" lnSpcReduction="20000"/>
          </a:bodyPr>
          <a:lstStyle/>
          <a:p>
            <a:pPr>
              <a:lnSpc>
                <a:spcPct val="150000"/>
              </a:lnSpc>
              <a:buClr>
                <a:srgbClr val="F5668F"/>
              </a:buClr>
            </a:pPr>
            <a:r>
              <a:rPr lang="en-US" sz="2400">
                <a:latin typeface="Aptos Display"/>
                <a:ea typeface="Lato"/>
                <a:cs typeface="Lato"/>
              </a:rPr>
              <a:t>How are we engaging our clinical team members in active implementation of  Respectful Care Practices?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buClr>
                <a:srgbClr val="F5668F"/>
              </a:buClr>
            </a:pPr>
            <a:r>
              <a:rPr lang="en-US">
                <a:latin typeface="Aptos Display"/>
                <a:ea typeface="Lato"/>
                <a:cs typeface="Lato"/>
              </a:rPr>
              <a:t>Need buy-in from all Clinical Team members and staff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</a:pPr>
            <a:r>
              <a:rPr lang="en-US">
                <a:latin typeface="Aptos Display"/>
                <a:ea typeface="Lato"/>
                <a:cs typeface="Lato"/>
              </a:rPr>
              <a:t>Understand how to actively implement Respectful Care Practices with ALL patients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</a:pPr>
            <a:r>
              <a:rPr lang="en-US">
                <a:latin typeface="Aptos Display"/>
                <a:ea typeface="Lato"/>
                <a:cs typeface="Lato"/>
              </a:rPr>
              <a:t>Engage patients with Respectful Care Practi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7E5912-E2FF-86D1-30FB-02FA8BC849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1772" y="6355080"/>
            <a:ext cx="685800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404040"/>
                </a:solidFill>
              </a:rPr>
              <a:pPr algn="l">
                <a:spcAft>
                  <a:spcPts val="600"/>
                </a:spcAft>
              </a:pPr>
              <a:t>33</a:t>
            </a:fld>
            <a:endParaRPr lang="en-US">
              <a:solidFill>
                <a:srgbClr val="404040"/>
              </a:solidFill>
            </a:endParaRPr>
          </a:p>
        </p:txBody>
      </p:sp>
      <p:pic>
        <p:nvPicPr>
          <p:cNvPr id="9" name="Picture 8" descr="A blue sky with a black border&#10;&#10;Description automatically generated">
            <a:extLst>
              <a:ext uri="{FF2B5EF4-FFF2-40B4-BE49-F238E27FC236}">
                <a16:creationId xmlns:a16="http://schemas.microsoft.com/office/drawing/2014/main" id="{BD6A65AD-79B7-DF14-89DD-8B8084FD7922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50000"/>
          </a:blip>
          <a:stretch>
            <a:fillRect/>
          </a:stretch>
        </p:blipFill>
        <p:spPr>
          <a:xfrm>
            <a:off x="1698325" y="1532906"/>
            <a:ext cx="1409700" cy="3238500"/>
          </a:xfrm>
          <a:prstGeom prst="rect">
            <a:avLst/>
          </a:prstGeom>
          <a:ln>
            <a:noFill/>
          </a:ln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F297E2A-1274-4BC1-710E-7BA46CA5C08F}"/>
              </a:ext>
            </a:extLst>
          </p:cNvPr>
          <p:cNvSpPr txBox="1">
            <a:spLocks/>
          </p:cNvSpPr>
          <p:nvPr/>
        </p:nvSpPr>
        <p:spPr>
          <a:xfrm>
            <a:off x="-780629" y="3046024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400" b="1">
                <a:solidFill>
                  <a:srgbClr val="1C498B"/>
                </a:solidFill>
              </a:rPr>
              <a:t>Consider Having a Respectful Care Kick-Off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AF4C527-3F15-CC2E-8B93-84E572FC6D32}"/>
              </a:ext>
            </a:extLst>
          </p:cNvPr>
          <p:cNvSpPr txBox="1">
            <a:spLocks/>
          </p:cNvSpPr>
          <p:nvPr/>
        </p:nvSpPr>
        <p:spPr>
          <a:xfrm>
            <a:off x="4358868" y="3935245"/>
            <a:ext cx="7318542" cy="240812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Clr>
                <a:srgbClr val="F5668F"/>
              </a:buClr>
            </a:pPr>
            <a:r>
              <a:rPr lang="en-US" sz="1900">
                <a:latin typeface="Aptos Display"/>
                <a:ea typeface="Lato"/>
                <a:cs typeface="Lato"/>
              </a:rPr>
              <a:t>Can occur during shift changes/ Grand Rounds / and Neo/OB Provider meetings </a:t>
            </a:r>
            <a:endParaRPr lang="en-US"/>
          </a:p>
          <a:p>
            <a:pPr>
              <a:lnSpc>
                <a:spcPct val="150000"/>
              </a:lnSpc>
              <a:buClr>
                <a:srgbClr val="F5668F"/>
              </a:buClr>
            </a:pPr>
            <a:r>
              <a:rPr lang="en-US" sz="1900">
                <a:latin typeface="Aptos Display"/>
                <a:ea typeface="Lato"/>
                <a:cs typeface="Lato"/>
              </a:rPr>
              <a:t>Consider bringing food or watching a patient story </a:t>
            </a:r>
          </a:p>
          <a:p>
            <a:pPr>
              <a:lnSpc>
                <a:spcPct val="150000"/>
              </a:lnSpc>
              <a:buClr>
                <a:srgbClr val="F5668F"/>
              </a:buClr>
            </a:pPr>
            <a:r>
              <a:rPr lang="en-US" sz="1900">
                <a:latin typeface="Aptos Display"/>
                <a:ea typeface="Lato"/>
                <a:cs typeface="Lato"/>
              </a:rPr>
              <a:t>Brainstorm with providers ways to implement respectful care practices </a:t>
            </a:r>
          </a:p>
          <a:p>
            <a:pPr>
              <a:lnSpc>
                <a:spcPct val="150000"/>
              </a:lnSpc>
              <a:buClr>
                <a:srgbClr val="F5668F"/>
              </a:buClr>
            </a:pPr>
            <a:endParaRPr lang="en-US" sz="2400">
              <a:latin typeface="Aptos Display"/>
              <a:ea typeface="Lato"/>
              <a:cs typeface="Lato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D7B8496-8FB8-2E3B-1595-2A1DED4530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8171" y="6433961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587779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1CE8A8-2FF3-41D9-8EBB-20BAFAA12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4309" y="-1976"/>
            <a:ext cx="10972800" cy="1325563"/>
          </a:xfrm>
        </p:spPr>
        <p:txBody>
          <a:bodyPr>
            <a:normAutofit/>
          </a:bodyPr>
          <a:lstStyle/>
          <a:p>
            <a:r>
              <a:rPr lang="en-US" sz="3600" b="1">
                <a:solidFill>
                  <a:srgbClr val="1C498B"/>
                </a:solidFill>
              </a:rPr>
              <a:t>Strategies that Birth Equity Teams Found Useful  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FE5894-EAED-41E4-94E5-64F7D851D8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1B365A6-C3EB-0EC4-A1E7-514C90BBCBAD}"/>
              </a:ext>
            </a:extLst>
          </p:cNvPr>
          <p:cNvSpPr>
            <a:spLocks noGrp="1"/>
          </p:cNvSpPr>
          <p:nvPr/>
        </p:nvSpPr>
        <p:spPr>
          <a:xfrm>
            <a:off x="523356" y="1710582"/>
            <a:ext cx="5331406" cy="402422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Poster with respectful care practices at each nurses' station throughout the uni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All staff educated </a:t>
            </a:r>
            <a:r>
              <a:rPr lang="en-US" sz="2200" b="1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on </a:t>
            </a:r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respectful care practices and how to speak to patients about them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All staff read and sign respectful care strategy poster 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Shared respectful care practices in nurses break room with food 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Hosting</a:t>
            </a:r>
            <a:r>
              <a:rPr lang="en-US" sz="2200" b="1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 Respectful Care Breakfasts </a:t>
            </a:r>
          </a:p>
          <a:p>
            <a:endParaRPr lang="en-US">
              <a:solidFill>
                <a:schemeClr val="tx1">
                  <a:lumMod val="50000"/>
                </a:schemeClr>
              </a:solidFill>
              <a:ea typeface="+mn-lt"/>
              <a:cs typeface="+mn-lt"/>
            </a:endParaRPr>
          </a:p>
          <a:p>
            <a:endParaRPr lang="en-US">
              <a:solidFill>
                <a:schemeClr val="tx1">
                  <a:lumMod val="50000"/>
                </a:schemeClr>
              </a:solidFill>
            </a:endParaRPr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BB0710AF-590A-EC77-D10B-542B21941BBC}"/>
              </a:ext>
            </a:extLst>
          </p:cNvPr>
          <p:cNvSpPr>
            <a:spLocks noGrp="1"/>
          </p:cNvSpPr>
          <p:nvPr/>
        </p:nvSpPr>
        <p:spPr>
          <a:xfrm>
            <a:off x="6122020" y="1759213"/>
            <a:ext cx="5775293" cy="361534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Poster displayed upon admission to OB, triage rooms, and in each patient room (LD and PP)</a:t>
            </a:r>
            <a:endParaRPr lang="en-US" sz="220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Provided to patients at prenatal classes</a:t>
            </a:r>
            <a:endParaRPr lang="en-US" sz="220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2200">
                <a:ea typeface="+mn-lt"/>
                <a:cs typeface="+mn-lt"/>
              </a:rPr>
              <a:t>Given in the patient admission folders</a:t>
            </a:r>
            <a:endParaRPr lang="en-US" sz="2200"/>
          </a:p>
          <a:p>
            <a:endParaRPr lang="en-US" sz="220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D3850892-A3BD-8B99-159E-5D4E4A88E5A2}"/>
              </a:ext>
            </a:extLst>
          </p:cNvPr>
          <p:cNvSpPr txBox="1"/>
          <p:nvPr/>
        </p:nvSpPr>
        <p:spPr>
          <a:xfrm>
            <a:off x="449014" y="1119917"/>
            <a:ext cx="5142690" cy="510778"/>
          </a:xfrm>
          <a:prstGeom prst="roundRect">
            <a:avLst/>
          </a:prstGeom>
          <a:ln>
            <a:solidFill>
              <a:srgbClr val="F5668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</a:pPr>
            <a:r>
              <a:rPr lang="en-US" sz="24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Prompt"/>
                <a:ea typeface="+mn-lt"/>
                <a:cs typeface="+mn-lt"/>
              </a:rPr>
              <a:t>Clinical care team</a:t>
            </a:r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73643F8F-A7D3-2284-E7B9-01F679549E1D}"/>
              </a:ext>
            </a:extLst>
          </p:cNvPr>
          <p:cNvSpPr txBox="1"/>
          <p:nvPr/>
        </p:nvSpPr>
        <p:spPr>
          <a:xfrm>
            <a:off x="6094142" y="1112660"/>
            <a:ext cx="5142690" cy="510778"/>
          </a:xfrm>
          <a:prstGeom prst="roundRect">
            <a:avLst/>
          </a:prstGeom>
          <a:ln>
            <a:solidFill>
              <a:srgbClr val="F5668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</a:pPr>
            <a:r>
              <a:rPr lang="en-US" sz="24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Prompt"/>
                <a:ea typeface="+mn-lt"/>
                <a:cs typeface="+mn-lt"/>
              </a:rPr>
              <a:t>Patient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DD0AE2C-E620-7784-B0B3-44A412F05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61060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075283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white blot of paint&#10;&#10;Description automatically generated">
            <a:extLst>
              <a:ext uri="{FF2B5EF4-FFF2-40B4-BE49-F238E27FC236}">
                <a16:creationId xmlns:a16="http://schemas.microsoft.com/office/drawing/2014/main" id="{277BD649-2E72-AAFF-96B9-CACA5E75B3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5333" y="101953"/>
            <a:ext cx="1524000" cy="1390650"/>
          </a:xfrm>
          <a:prstGeom prst="rect">
            <a:avLst/>
          </a:prstGeom>
          <a:ln>
            <a:noFill/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477DBB18-4ABA-5958-7B3D-1A4CBBA0F490}"/>
              </a:ext>
            </a:extLst>
          </p:cNvPr>
          <p:cNvSpPr txBox="1">
            <a:spLocks/>
          </p:cNvSpPr>
          <p:nvPr/>
        </p:nvSpPr>
        <p:spPr>
          <a:xfrm>
            <a:off x="406878" y="197218"/>
            <a:ext cx="5120384" cy="1285365"/>
          </a:xfrm>
          <a:prstGeom prst="rect">
            <a:avLst/>
          </a:prstGeom>
          <a:noFill/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Respectful Care Breakfast Resourc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C5994FE-ED51-DDC2-A1E8-43D1A63531A2}"/>
              </a:ext>
            </a:extLst>
          </p:cNvPr>
          <p:cNvSpPr txBox="1">
            <a:spLocks/>
          </p:cNvSpPr>
          <p:nvPr/>
        </p:nvSpPr>
        <p:spPr>
          <a:xfrm>
            <a:off x="412402" y="1353287"/>
            <a:ext cx="6965145" cy="352543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latin typeface="DM Sans"/>
                <a:ea typeface="Lato Medium"/>
                <a:cs typeface="Lato Medium"/>
              </a:rPr>
              <a:t>Watch ILPQC's </a:t>
            </a:r>
            <a:r>
              <a:rPr lang="en-US" sz="2800" b="1">
                <a:latin typeface="DM Sans"/>
                <a:ea typeface="Lato Medium"/>
                <a:cs typeface="Lato Medium"/>
              </a:rPr>
              <a:t>Birth Equity</a:t>
            </a:r>
            <a:r>
              <a:rPr lang="en-US" sz="2800">
                <a:latin typeface="DM Sans"/>
                <a:ea typeface="Lato Medium"/>
                <a:cs typeface="Lato Medium"/>
              </a:rPr>
              <a:t> Webinar on February 19th, 12 – 1 pm CT : </a:t>
            </a:r>
            <a:r>
              <a:rPr lang="en-US" sz="2800" i="1">
                <a:latin typeface="DM Sans"/>
                <a:ea typeface="Lato Medium"/>
                <a:cs typeface="Lato Medium"/>
              </a:rPr>
              <a:t>Holding</a:t>
            </a:r>
            <a:r>
              <a:rPr lang="en-US" sz="2800" i="1">
                <a:latin typeface="DM Sans"/>
                <a:ea typeface="+mj-lt"/>
                <a:cs typeface="+mj-lt"/>
              </a:rPr>
              <a:t> Respectful Care Breakfasts – lessons learned </a:t>
            </a:r>
            <a:endParaRPr lang="en-US" sz="2800">
              <a:solidFill>
                <a:srgbClr val="1C498B"/>
              </a:solidFill>
              <a:latin typeface="DM Sans"/>
              <a:ea typeface="Lato Medium"/>
              <a:cs typeface="Lato Medium"/>
            </a:endParaRPr>
          </a:p>
          <a:p>
            <a:endParaRPr lang="en-US" sz="2800" i="1">
              <a:solidFill>
                <a:srgbClr val="000000"/>
              </a:solidFill>
              <a:latin typeface="DM Sans"/>
              <a:ea typeface="Lato Medium"/>
              <a:cs typeface="Lato Medium"/>
            </a:endParaRPr>
          </a:p>
          <a:p>
            <a:endParaRPr lang="en-US" sz="2800" i="1">
              <a:solidFill>
                <a:srgbClr val="000000"/>
              </a:solidFill>
              <a:latin typeface="DM Sans"/>
              <a:ea typeface="Lato Medium"/>
              <a:cs typeface="Lato Medium"/>
            </a:endParaRPr>
          </a:p>
          <a:p>
            <a:r>
              <a:rPr lang="en-US" sz="2800" i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* </a:t>
            </a:r>
            <a:r>
              <a:rPr lang="en-US" sz="28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Will be uploaded to ILPQC site this week!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4FF9EE-CA60-EF60-2539-95209B379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61060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pic>
        <p:nvPicPr>
          <p:cNvPr id="6" name="Picture 5" descr="A close up of a snow&#10;&#10;Description automatically generated">
            <a:extLst>
              <a:ext uri="{FF2B5EF4-FFF2-40B4-BE49-F238E27FC236}">
                <a16:creationId xmlns:a16="http://schemas.microsoft.com/office/drawing/2014/main" id="{793CFA8E-DC2E-893A-6F99-216BEEE5FB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375" y="5896608"/>
            <a:ext cx="2762250" cy="984250"/>
          </a:xfrm>
          <a:prstGeom prst="rect">
            <a:avLst/>
          </a:prstGeom>
          <a:ln>
            <a:noFill/>
          </a:ln>
        </p:spPr>
      </p:pic>
      <p:pic>
        <p:nvPicPr>
          <p:cNvPr id="9" name="Picture 8" descr="A group of women standing together&#10;&#10;Description automatically generated">
            <a:extLst>
              <a:ext uri="{FF2B5EF4-FFF2-40B4-BE49-F238E27FC236}">
                <a16:creationId xmlns:a16="http://schemas.microsoft.com/office/drawing/2014/main" id="{BAB16C74-0E9F-0437-85A6-436F8B4903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6453" y="-118"/>
            <a:ext cx="4591051" cy="3438525"/>
          </a:xfrm>
          <a:prstGeom prst="rect">
            <a:avLst/>
          </a:prstGeom>
        </p:spPr>
      </p:pic>
      <p:pic>
        <p:nvPicPr>
          <p:cNvPr id="10" name="Picture 9" descr="A counter with food items on it&#10;&#10;Description automatically generated">
            <a:extLst>
              <a:ext uri="{FF2B5EF4-FFF2-40B4-BE49-F238E27FC236}">
                <a16:creationId xmlns:a16="http://schemas.microsoft.com/office/drawing/2014/main" id="{0267A147-F504-7FEC-7610-77FBB78B33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1184" y="3646086"/>
            <a:ext cx="4600695" cy="321185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5B7C5A4-5F39-10B2-DA70-70D2612C230B}"/>
              </a:ext>
            </a:extLst>
          </p:cNvPr>
          <p:cNvSpPr txBox="1">
            <a:spLocks/>
          </p:cNvSpPr>
          <p:nvPr/>
        </p:nvSpPr>
        <p:spPr>
          <a:xfrm>
            <a:off x="402756" y="5018943"/>
            <a:ext cx="6965145" cy="1373901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latin typeface="DM Sans"/>
                <a:ea typeface="Lato Medium"/>
                <a:cs typeface="Lato Medium"/>
              </a:rPr>
              <a:t>Check with your BE Team if they have planned or hosted one – see if you can attend or learn how they did it!</a:t>
            </a:r>
            <a:endParaRPr lang="en-US" sz="2800">
              <a:solidFill>
                <a:srgbClr val="000000"/>
              </a:solidFill>
              <a:latin typeface="DM Sans"/>
              <a:ea typeface="Lato Medium"/>
              <a:cs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15484990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FC3E6-8E03-4AD0-DC5A-624DF52B6E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0323" y="2091474"/>
            <a:ext cx="10634533" cy="1826339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Poll: Have </a:t>
            </a:r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you seen ILPQC's Respectful Care Practices around your hospital?</a:t>
            </a:r>
            <a:endParaRPr lang="en-US" b="1">
              <a:solidFill>
                <a:srgbClr val="1C498B"/>
              </a:solidFill>
              <a:latin typeface="DM Sans"/>
              <a:ea typeface="Lato Medium"/>
              <a:cs typeface="Lato Medium"/>
            </a:endParaRPr>
          </a:p>
        </p:txBody>
      </p:sp>
      <p:pic>
        <p:nvPicPr>
          <p:cNvPr id="6" name="Picture 5" descr="A blue circle with a black background&#10;&#10;Description automatically generated">
            <a:extLst>
              <a:ext uri="{FF2B5EF4-FFF2-40B4-BE49-F238E27FC236}">
                <a16:creationId xmlns:a16="http://schemas.microsoft.com/office/drawing/2014/main" id="{71BFFE68-F9B2-3E93-AD63-B48033147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69037" y="-1664246"/>
            <a:ext cx="1981200" cy="25146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691867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1F3834-E4ED-274F-332B-18AD4BC5D4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6D57BD-5D52-B829-7A1B-4DFAA4094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 descr="A person holding a baby&#10;&#10;Description automatically generated">
            <a:extLst>
              <a:ext uri="{FF2B5EF4-FFF2-40B4-BE49-F238E27FC236}">
                <a16:creationId xmlns:a16="http://schemas.microsoft.com/office/drawing/2014/main" id="{2B26EC16-A487-421E-775C-476A2F375B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298" y="79648"/>
            <a:ext cx="5057593" cy="6279163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2C2383D-DDA8-FCDA-FBDD-1B84FE5EDB56}"/>
              </a:ext>
            </a:extLst>
          </p:cNvPr>
          <p:cNvSpPr txBox="1">
            <a:spLocks/>
          </p:cNvSpPr>
          <p:nvPr/>
        </p:nvSpPr>
        <p:spPr>
          <a:xfrm>
            <a:off x="5469710" y="2287619"/>
            <a:ext cx="6585048" cy="2448841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ILPQC has been working to adapt and modify these practices for ESSI.</a:t>
            </a:r>
          </a:p>
        </p:txBody>
      </p:sp>
    </p:spTree>
    <p:extLst>
      <p:ext uri="{BB962C8B-B14F-4D97-AF65-F5344CB8AC3E}">
        <p14:creationId xmlns:p14="http://schemas.microsoft.com/office/powerpoint/2010/main" val="20694626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and white paint on a black background&#10;&#10;Description automatically generated">
            <a:extLst>
              <a:ext uri="{FF2B5EF4-FFF2-40B4-BE49-F238E27FC236}">
                <a16:creationId xmlns:a16="http://schemas.microsoft.com/office/drawing/2014/main" id="{52178671-9617-C000-23A9-3B41BB9005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3363" y="-265997"/>
            <a:ext cx="4163495" cy="2176272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11BF8C-E76B-5DCC-741A-A8EC35718A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2667"/>
            <a:ext cx="10515600" cy="1325563"/>
          </a:xfrm>
          <a:noFill/>
        </p:spPr>
        <p:txBody>
          <a:bodyPr>
            <a:normAutofit/>
          </a:bodyPr>
          <a:lstStyle/>
          <a:p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Respectful Care Practices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C63934-04CC-F21C-59FC-C580A9F65E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5339" y="1774595"/>
            <a:ext cx="1051560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" panose="020B0604020202020204" pitchFamily="34" charset="0"/>
              <a:buChar char="q"/>
            </a:pPr>
            <a:r>
              <a:rPr lang="en-US">
                <a:solidFill>
                  <a:srgbClr val="F5668F"/>
                </a:solidFill>
                <a:ea typeface="Lato"/>
                <a:cs typeface="Lato"/>
              </a:rPr>
              <a:t> </a:t>
            </a:r>
            <a:r>
              <a:rPr lang="en-US">
                <a:ea typeface="Lato"/>
                <a:cs typeface="Lato"/>
              </a:rPr>
              <a:t>Underwent several iterations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solidFill>
                  <a:srgbClr val="000000"/>
                </a:solidFill>
                <a:ea typeface="Lato"/>
                <a:cs typeface="Lato"/>
              </a:rPr>
              <a:t>Feedback</a:t>
            </a:r>
            <a:r>
              <a:rPr lang="en-US">
                <a:ea typeface="Lato"/>
                <a:cs typeface="Lato"/>
              </a:rPr>
              <a:t> from </a:t>
            </a:r>
            <a:r>
              <a:rPr lang="en-US" b="1">
                <a:ea typeface="Lato"/>
                <a:cs typeface="Lato"/>
              </a:rPr>
              <a:t>Neonatal Advisory workgroup, Neo Community Advisory Board, ESSI Planning workgroup,</a:t>
            </a:r>
            <a:r>
              <a:rPr lang="en-US">
                <a:ea typeface="Lato"/>
                <a:cs typeface="Lato"/>
              </a:rPr>
              <a:t> and </a:t>
            </a:r>
            <a:r>
              <a:rPr lang="en-US" b="1">
                <a:ea typeface="Lato"/>
                <a:cs typeface="Lato"/>
              </a:rPr>
              <a:t>parent partners</a:t>
            </a:r>
            <a:endParaRPr lang="en-US" b="1"/>
          </a:p>
          <a:p>
            <a:pPr>
              <a:buFont typeface="Wingdings" panose="020B0604020202020204" pitchFamily="34" charset="0"/>
              <a:buChar char="q"/>
            </a:pPr>
            <a:r>
              <a:rPr lang="en-US">
                <a:solidFill>
                  <a:srgbClr val="F5668F"/>
                </a:solidFill>
                <a:ea typeface="Lato"/>
                <a:cs typeface="Lato"/>
              </a:rPr>
              <a:t> </a:t>
            </a:r>
            <a:r>
              <a:rPr lang="en-US">
                <a:ea typeface="Lato"/>
                <a:cs typeface="Lato"/>
              </a:rPr>
              <a:t>Line-by-line internal team editing integrating feedback from teams and assessing clarity and style</a:t>
            </a:r>
          </a:p>
          <a:p>
            <a:pPr>
              <a:buFont typeface="Wingdings" panose="020B0604020202020204" pitchFamily="34" charset="0"/>
              <a:buChar char="q"/>
            </a:pPr>
            <a:r>
              <a:rPr lang="en-US">
                <a:solidFill>
                  <a:srgbClr val="F5668F"/>
                </a:solidFill>
                <a:ea typeface="Lato"/>
                <a:cs typeface="Lato"/>
              </a:rPr>
              <a:t> </a:t>
            </a:r>
            <a:r>
              <a:rPr lang="en-US">
                <a:ea typeface="Lato"/>
                <a:cs typeface="Lato"/>
              </a:rPr>
              <a:t>Assess readability and comprehension through external, validated tools </a:t>
            </a:r>
          </a:p>
          <a:p>
            <a:pPr>
              <a:buFont typeface="Wingdings" panose="020B0604020202020204" pitchFamily="34" charset="0"/>
              <a:buChar char="q"/>
            </a:pPr>
            <a:endParaRPr lang="en-US">
              <a:solidFill>
                <a:srgbClr val="F5668F"/>
              </a:solidFill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75744C-DFFD-D823-3D18-A60497D3B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38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09AC272-869E-2AE8-8376-D1E67AF91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6" name="Picture 5" descr="A white cloud on a black background&#10;&#10;Description automatically generated">
            <a:extLst>
              <a:ext uri="{FF2B5EF4-FFF2-40B4-BE49-F238E27FC236}">
                <a16:creationId xmlns:a16="http://schemas.microsoft.com/office/drawing/2014/main" id="{A1D15831-3EEA-F72A-127E-8E266DC22C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640174" y="-2631624"/>
            <a:ext cx="1592801" cy="3546259"/>
          </a:xfrm>
          <a:prstGeom prst="rect">
            <a:avLst/>
          </a:prstGeom>
          <a:ln>
            <a:noFill/>
          </a:ln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50D7A8-6021-7083-F66D-8B12ADD8B461}"/>
              </a:ext>
            </a:extLst>
          </p:cNvPr>
          <p:cNvSpPr txBox="1">
            <a:spLocks/>
          </p:cNvSpPr>
          <p:nvPr/>
        </p:nvSpPr>
        <p:spPr>
          <a:xfrm>
            <a:off x="2511919" y="5190633"/>
            <a:ext cx="7071049" cy="146662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ea typeface="Lato"/>
                <a:cs typeface="Lato"/>
              </a:rPr>
              <a:t>Poster launching at Face to Face!</a:t>
            </a:r>
          </a:p>
          <a:p>
            <a:pPr algn="ctr">
              <a:buFont typeface="Wingdings" panose="020B0604020202020204" pitchFamily="34" charset="0"/>
              <a:buChar char="q"/>
            </a:pPr>
            <a:endParaRPr lang="en-US" b="1">
              <a:solidFill>
                <a:srgbClr val="F5668F"/>
              </a:solidFill>
              <a:ea typeface="Lato"/>
              <a:cs typeface="Lato"/>
            </a:endParaRPr>
          </a:p>
        </p:txBody>
      </p:sp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EF0C6CDF-E69F-FC43-4F1C-C76E7A4014D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0239" y="1624361"/>
            <a:ext cx="505522" cy="505522"/>
          </a:xfrm>
          <a:prstGeom prst="rect">
            <a:avLst/>
          </a:prstGeom>
        </p:spPr>
      </p:pic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ED2A9DD2-624E-F2CA-6119-B16F1A2D0A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2860" y="2828597"/>
            <a:ext cx="505522" cy="505522"/>
          </a:xfrm>
          <a:prstGeom prst="rect">
            <a:avLst/>
          </a:prstGeom>
        </p:spPr>
      </p:pic>
      <p:pic>
        <p:nvPicPr>
          <p:cNvPr id="10" name="Graphic 9" descr="Checkmark with solid fill">
            <a:extLst>
              <a:ext uri="{FF2B5EF4-FFF2-40B4-BE49-F238E27FC236}">
                <a16:creationId xmlns:a16="http://schemas.microsoft.com/office/drawing/2014/main" id="{A9F52B3D-4D4E-AED0-17DC-A245A8411E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0238" y="3743092"/>
            <a:ext cx="505522" cy="50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0921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white cloud on a black background&#10;&#10;Description automatically generated">
            <a:extLst>
              <a:ext uri="{FF2B5EF4-FFF2-40B4-BE49-F238E27FC236}">
                <a16:creationId xmlns:a16="http://schemas.microsoft.com/office/drawing/2014/main" id="{36962373-8B36-3EA1-50D9-A7C5C96600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22" y="3031635"/>
            <a:ext cx="1592801" cy="3546259"/>
          </a:xfrm>
          <a:prstGeom prst="rect">
            <a:avLst/>
          </a:prstGeom>
          <a:ln>
            <a:noFill/>
          </a:ln>
        </p:spPr>
      </p:pic>
      <p:pic>
        <p:nvPicPr>
          <p:cNvPr id="3" name="Picture 2" descr="A blue circle with a black background&#10;&#10;Description automatically generated">
            <a:extLst>
              <a:ext uri="{FF2B5EF4-FFF2-40B4-BE49-F238E27FC236}">
                <a16:creationId xmlns:a16="http://schemas.microsoft.com/office/drawing/2014/main" id="{C215F430-4B13-A518-9DD7-748E34F46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6511" y="-410633"/>
            <a:ext cx="1981200" cy="2514600"/>
          </a:xfrm>
          <a:prstGeom prst="rect">
            <a:avLst/>
          </a:prstGeom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9762A30-9E95-E9C4-E801-80ED83B5069F}"/>
              </a:ext>
            </a:extLst>
          </p:cNvPr>
          <p:cNvSpPr txBox="1"/>
          <p:nvPr/>
        </p:nvSpPr>
        <p:spPr>
          <a:xfrm>
            <a:off x="729675" y="411155"/>
            <a:ext cx="10761427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b="1">
                <a:solidFill>
                  <a:srgbClr val="1C498B"/>
                </a:solidFill>
                <a:latin typeface="DM Sans"/>
                <a:cs typeface="Calibri"/>
              </a:rPr>
              <a:t>ILPQC Respectful Care Practice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9017BA-C0A8-6BEE-2C56-82860CA64E5C}"/>
              </a:ext>
            </a:extLst>
          </p:cNvPr>
          <p:cNvSpPr txBox="1"/>
          <p:nvPr/>
        </p:nvSpPr>
        <p:spPr>
          <a:xfrm>
            <a:off x="581941" y="1313114"/>
            <a:ext cx="10761427" cy="483888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Treating you and your baby with care and respect</a:t>
            </a:r>
            <a:endParaRPr lang="en-US" sz="2600"/>
          </a:p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Introducing ourselves and our roles to you</a:t>
            </a:r>
          </a:p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Learning how can we best support and partner with you to care for your baby </a:t>
            </a:r>
          </a:p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Communicating effectively to provide the best for your baby </a:t>
            </a:r>
          </a:p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Listening to ensure that your voice is being heard  </a:t>
            </a:r>
          </a:p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Partnering with you to make decisions that are</a:t>
            </a:r>
            <a:r>
              <a:rPr lang="en-US" sz="2600">
                <a:solidFill>
                  <a:srgbClr val="000000"/>
                </a:solidFill>
                <a:latin typeface="DM Sans"/>
                <a:ea typeface="+mn-lt"/>
                <a:cs typeface="Calibri"/>
              </a:rPr>
              <a:t> right for your family</a:t>
            </a:r>
            <a:endParaRPr lang="en-US" sz="2600">
              <a:solidFill>
                <a:srgbClr val="000000"/>
              </a:solidFill>
              <a:latin typeface="DM Sans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621637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336674" y="1550229"/>
            <a:ext cx="3027790" cy="1416510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238317" y="3188989"/>
            <a:ext cx="5883121" cy="2700867"/>
            <a:chOff x="0" y="0"/>
            <a:chExt cx="2324196" cy="106700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324196" cy="1067009"/>
            </a:xfrm>
            <a:custGeom>
              <a:avLst/>
              <a:gdLst/>
              <a:ahLst/>
              <a:cxnLst/>
              <a:rect l="l" t="t" r="r" b="b"/>
              <a:pathLst>
                <a:path w="2324196" h="1067009">
                  <a:moveTo>
                    <a:pt x="44742" y="0"/>
                  </a:moveTo>
                  <a:lnTo>
                    <a:pt x="2279454" y="0"/>
                  </a:lnTo>
                  <a:cubicBezTo>
                    <a:pt x="2304164" y="0"/>
                    <a:pt x="2324196" y="20032"/>
                    <a:pt x="2324196" y="44742"/>
                  </a:cubicBezTo>
                  <a:lnTo>
                    <a:pt x="2324196" y="1022267"/>
                  </a:lnTo>
                  <a:cubicBezTo>
                    <a:pt x="2324196" y="1046977"/>
                    <a:pt x="2304164" y="1067009"/>
                    <a:pt x="2279454" y="1067009"/>
                  </a:cubicBezTo>
                  <a:lnTo>
                    <a:pt x="44742" y="1067009"/>
                  </a:lnTo>
                  <a:cubicBezTo>
                    <a:pt x="20032" y="1067009"/>
                    <a:pt x="0" y="1046977"/>
                    <a:pt x="0" y="1022267"/>
                  </a:cubicBezTo>
                  <a:lnTo>
                    <a:pt x="0" y="44742"/>
                  </a:lnTo>
                  <a:cubicBezTo>
                    <a:pt x="0" y="20032"/>
                    <a:pt x="20032" y="0"/>
                    <a:pt x="44742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33350" cap="rnd">
              <a:solidFill>
                <a:srgbClr val="144B90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324196" cy="110510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 flipH="1">
            <a:off x="6500845" y="3539704"/>
            <a:ext cx="5435579" cy="1983986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TextBox 7"/>
          <p:cNvSpPr txBox="1"/>
          <p:nvPr/>
        </p:nvSpPr>
        <p:spPr>
          <a:xfrm>
            <a:off x="4372039" y="1760750"/>
            <a:ext cx="7955264" cy="11038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2024 OB &amp; Neonatal </a:t>
            </a:r>
          </a:p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Face-to-Face Meeting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336674" y="649404"/>
            <a:ext cx="9245237" cy="11435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092"/>
              </a:lnSpc>
            </a:pPr>
            <a:r>
              <a:rPr lang="en-US" sz="9868" spc="957">
                <a:solidFill>
                  <a:srgbClr val="144B90"/>
                </a:solidFill>
                <a:latin typeface="Staatliches"/>
              </a:rPr>
              <a:t>save the date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21792" y="6209752"/>
            <a:ext cx="11307852" cy="3483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918"/>
              </a:lnSpc>
            </a:pPr>
            <a:r>
              <a:rPr lang="en-US" sz="2050" i="1">
                <a:solidFill>
                  <a:srgbClr val="144B90"/>
                </a:solidFill>
                <a:latin typeface="Prompt Italics"/>
              </a:rPr>
              <a:t>Join us for two interactive days of collaborative learning with the IL Perinatal Quality Collaborative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75189" y="3864626"/>
            <a:ext cx="2720421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2ND, 202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55911" y="3539704"/>
            <a:ext cx="2108092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 b="1">
                <a:solidFill>
                  <a:srgbClr val="144B90"/>
                </a:solidFill>
                <a:latin typeface="Cambria"/>
                <a:ea typeface="Cambria"/>
              </a:rPr>
              <a:t>OB TEAMS: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55912" y="5174923"/>
            <a:ext cx="2449487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3RD, 2024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75189" y="4451023"/>
            <a:ext cx="3468303" cy="7320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NEONATAL </a:t>
            </a:r>
          </a:p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TEAMS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257602" y="3824546"/>
            <a:ext cx="2701691" cy="15656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at the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President Abraham Lincoln Doubletree Hotel </a:t>
            </a:r>
          </a:p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in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Springfield, IL 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704996" y="3812489"/>
            <a:ext cx="4702289" cy="14056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19" b="1">
                <a:solidFill>
                  <a:srgbClr val="144B90"/>
                </a:solidFill>
                <a:latin typeface="Prompt"/>
              </a:rPr>
              <a:t>Calling ALL Perinatal Leaders, Providers, Nurses, Advocates, &amp; Friends!</a:t>
            </a:r>
          </a:p>
        </p:txBody>
      </p:sp>
    </p:spTree>
    <p:extLst>
      <p:ext uri="{BB962C8B-B14F-4D97-AF65-F5344CB8AC3E}">
        <p14:creationId xmlns:p14="http://schemas.microsoft.com/office/powerpoint/2010/main" val="20671311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circle with a black background&#10;&#10;Description automatically generated">
            <a:extLst>
              <a:ext uri="{FF2B5EF4-FFF2-40B4-BE49-F238E27FC236}">
                <a16:creationId xmlns:a16="http://schemas.microsoft.com/office/drawing/2014/main" id="{C215F430-4B13-A518-9DD7-748E34F46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6511" y="-410633"/>
            <a:ext cx="1981200" cy="2514600"/>
          </a:xfrm>
          <a:prstGeom prst="rect">
            <a:avLst/>
          </a:prstGeom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9762A30-9E95-E9C4-E801-80ED83B5069F}"/>
              </a:ext>
            </a:extLst>
          </p:cNvPr>
          <p:cNvSpPr txBox="1"/>
          <p:nvPr/>
        </p:nvSpPr>
        <p:spPr>
          <a:xfrm>
            <a:off x="729675" y="411155"/>
            <a:ext cx="10761427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b="1">
                <a:solidFill>
                  <a:srgbClr val="1C498B"/>
                </a:solidFill>
                <a:latin typeface="DM Sans"/>
                <a:cs typeface="Calibri"/>
              </a:rPr>
              <a:t>ILPQC Respectful Care Practices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0B00A8-3B32-022D-BFC3-991389FEF984}"/>
              </a:ext>
            </a:extLst>
          </p:cNvPr>
          <p:cNvSpPr txBox="1"/>
          <p:nvPr/>
        </p:nvSpPr>
        <p:spPr>
          <a:xfrm>
            <a:off x="644144" y="652195"/>
            <a:ext cx="11360141" cy="54390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endParaRPr lang="en-US" sz="2600" b="1">
              <a:latin typeface="DM Sans"/>
              <a:cs typeface="Calibri"/>
            </a:endParaRPr>
          </a:p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Valuing personal boundaries and respecting your dignity and privacy</a:t>
            </a:r>
          </a:p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Recognizing how your past healthcare experiences may affect how you feel while your baby is here </a:t>
            </a:r>
          </a:p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Supporting you as you develop the skills and resources to care for your baby</a:t>
            </a:r>
          </a:p>
          <a:p>
            <a:pPr marL="457200" indent="-457200">
              <a:lnSpc>
                <a:spcPct val="150000"/>
              </a:lnSpc>
              <a:buFont typeface="Calibri"/>
              <a:buChar char="-"/>
            </a:pPr>
            <a:r>
              <a:rPr lang="en-US" sz="2600">
                <a:solidFill>
                  <a:srgbClr val="000000"/>
                </a:solidFill>
                <a:latin typeface="DM Sans"/>
                <a:cs typeface="Calibri"/>
              </a:rPr>
              <a:t>Addressing any concerns or ways that we can improve your baby's care </a:t>
            </a:r>
          </a:p>
          <a:p>
            <a:pPr algn="ctr">
              <a:lnSpc>
                <a:spcPct val="150000"/>
              </a:lnSpc>
            </a:pPr>
            <a:r>
              <a:rPr lang="en-US" sz="2600" b="1">
                <a:solidFill>
                  <a:srgbClr val="1C498B"/>
                </a:solidFill>
                <a:latin typeface="DM Sans"/>
                <a:cs typeface="Calibri"/>
              </a:rPr>
              <a:t>Striving to provide safe, equitable, and respectful care at all times. </a:t>
            </a:r>
          </a:p>
        </p:txBody>
      </p:sp>
      <p:pic>
        <p:nvPicPr>
          <p:cNvPr id="7" name="Picture 6" descr="A white cloud on a black background&#10;&#10;Description automatically generated">
            <a:extLst>
              <a:ext uri="{FF2B5EF4-FFF2-40B4-BE49-F238E27FC236}">
                <a16:creationId xmlns:a16="http://schemas.microsoft.com/office/drawing/2014/main" id="{2CEF1256-C229-3985-E8B2-1D816865845D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57000"/>
          </a:blip>
          <a:stretch>
            <a:fillRect/>
          </a:stretch>
        </p:blipFill>
        <p:spPr>
          <a:xfrm>
            <a:off x="11250789" y="2975191"/>
            <a:ext cx="1592801" cy="354625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2609172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3">
            <a:extLst>
              <a:ext uri="{FF2B5EF4-FFF2-40B4-BE49-F238E27FC236}">
                <a16:creationId xmlns:a16="http://schemas.microsoft.com/office/drawing/2014/main" id="{47D75B78-31BC-388D-A44C-F2D944EF934E}"/>
              </a:ext>
            </a:extLst>
          </p:cNvPr>
          <p:cNvSpPr/>
          <p:nvPr/>
        </p:nvSpPr>
        <p:spPr>
          <a:xfrm>
            <a:off x="521797" y="3467410"/>
            <a:ext cx="6963758" cy="1032582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E99E557-0E3A-FE44-7651-9B517AB7FE25}"/>
              </a:ext>
            </a:extLst>
          </p:cNvPr>
          <p:cNvSpPr txBox="1"/>
          <p:nvPr/>
        </p:nvSpPr>
        <p:spPr>
          <a:xfrm>
            <a:off x="729675" y="411155"/>
            <a:ext cx="10761427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b="1">
                <a:solidFill>
                  <a:srgbClr val="1C498B"/>
                </a:solidFill>
                <a:latin typeface="DM Sans"/>
                <a:cs typeface="Calibri"/>
              </a:rPr>
              <a:t>Additional Resources for Respectful Care Practices Included in Toolkit: 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9BF4C4-C441-4125-0D36-AFACCDDD6450}"/>
              </a:ext>
            </a:extLst>
          </p:cNvPr>
          <p:cNvSpPr txBox="1"/>
          <p:nvPr/>
        </p:nvSpPr>
        <p:spPr>
          <a:xfrm>
            <a:off x="896063" y="3757611"/>
            <a:ext cx="6467598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>
                <a:solidFill>
                  <a:srgbClr val="FFFFFF"/>
                </a:solidFill>
                <a:latin typeface="DM Sans"/>
                <a:cs typeface="Calibri"/>
              </a:rPr>
              <a:t>The SHARE Approach</a:t>
            </a:r>
            <a:endParaRPr lang="en-US" sz="2400" i="1">
              <a:solidFill>
                <a:srgbClr val="FFFFFF"/>
              </a:solidFill>
              <a:latin typeface="DM Sans"/>
              <a:cs typeface="Calibri"/>
            </a:endParaRPr>
          </a:p>
        </p:txBody>
      </p:sp>
      <p:sp>
        <p:nvSpPr>
          <p:cNvPr id="9" name="Freeform 3">
            <a:extLst>
              <a:ext uri="{FF2B5EF4-FFF2-40B4-BE49-F238E27FC236}">
                <a16:creationId xmlns:a16="http://schemas.microsoft.com/office/drawing/2014/main" id="{A38494CB-EE44-FBDA-67F8-A56AE6807060}"/>
              </a:ext>
            </a:extLst>
          </p:cNvPr>
          <p:cNvSpPr/>
          <p:nvPr/>
        </p:nvSpPr>
        <p:spPr>
          <a:xfrm>
            <a:off x="457533" y="2196221"/>
            <a:ext cx="6984924" cy="1174542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8384DB-3B7E-A4D4-BD88-95948D959E6B}"/>
              </a:ext>
            </a:extLst>
          </p:cNvPr>
          <p:cNvSpPr txBox="1"/>
          <p:nvPr/>
        </p:nvSpPr>
        <p:spPr>
          <a:xfrm>
            <a:off x="992609" y="2316899"/>
            <a:ext cx="6279614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400" b="0" i="0" u="none" strike="noStrike" baseline="0">
                <a:solidFill>
                  <a:schemeClr val="bg1"/>
                </a:solidFill>
                <a:latin typeface="DM Sans"/>
                <a:ea typeface="Calibri"/>
                <a:cs typeface="Calibri"/>
              </a:rPr>
              <a:t>AWHONN Respectful Maternity Care Implementation Practices </a:t>
            </a:r>
            <a:endParaRPr lang="en-US" sz="2400">
              <a:solidFill>
                <a:schemeClr val="bg1"/>
              </a:solidFill>
              <a:latin typeface="DM Sans"/>
              <a:cs typeface="Calibri"/>
            </a:endParaRPr>
          </a:p>
        </p:txBody>
      </p:sp>
      <p:pic>
        <p:nvPicPr>
          <p:cNvPr id="12" name="Picture 11" descr="Blue text on a white background&#10;&#10;Description automatically generated">
            <a:extLst>
              <a:ext uri="{FF2B5EF4-FFF2-40B4-BE49-F238E27FC236}">
                <a16:creationId xmlns:a16="http://schemas.microsoft.com/office/drawing/2014/main" id="{B11771C7-349D-3F1D-D5FE-4024B38F327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366" y="4840116"/>
            <a:ext cx="4211276" cy="1406035"/>
          </a:xfrm>
          <a:prstGeom prst="rect">
            <a:avLst/>
          </a:prstGeom>
        </p:spPr>
      </p:pic>
      <p:pic>
        <p:nvPicPr>
          <p:cNvPr id="13" name="Picture 12" descr="A diagram of steps of a patient&#10;&#10;Description automatically generated">
            <a:extLst>
              <a:ext uri="{FF2B5EF4-FFF2-40B4-BE49-F238E27FC236}">
                <a16:creationId xmlns:a16="http://schemas.microsoft.com/office/drawing/2014/main" id="{57368AFE-1503-7417-7C08-921A66CA871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0819" y="1943523"/>
            <a:ext cx="3804573" cy="2737693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20B9984-C8A7-F7D7-868E-A6EE36E4A5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9924629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CD4B7-18A7-76E3-2CBA-3647A32E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54902"/>
            <a:ext cx="9365380" cy="2014679"/>
          </a:xfrm>
        </p:spPr>
        <p:txBody>
          <a:bodyPr/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Team Talk</a:t>
            </a:r>
            <a:endParaRPr lang="en-US">
              <a:solidFill>
                <a:srgbClr val="1C498B"/>
              </a:solidFill>
              <a:latin typeface="DM San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68D812-8336-152D-B896-A021E583E3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2445146"/>
            <a:ext cx="9365380" cy="185489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>
                <a:latin typeface="DM Sans"/>
                <a:ea typeface="Lato"/>
                <a:cs typeface="Lato"/>
              </a:rPr>
              <a:t>Elena Jenkins, RN BSN | Nurse Manager - Labor &amp; Delivery</a:t>
            </a:r>
          </a:p>
          <a:p>
            <a:r>
              <a:rPr lang="en-US" b="1">
                <a:latin typeface="DM Sans"/>
                <a:ea typeface="Lato"/>
                <a:cs typeface="Lato"/>
              </a:rPr>
              <a:t>SSM Health St. Mary’s Hospital - St. Louis</a:t>
            </a:r>
          </a:p>
          <a:p>
            <a:pPr>
              <a:spcBef>
                <a:spcPts val="400"/>
              </a:spcBef>
              <a:spcAft>
                <a:spcPts val="500"/>
              </a:spcAft>
            </a:pPr>
            <a:r>
              <a:rPr lang="en-US" b="1">
                <a:latin typeface="DM Sans"/>
                <a:ea typeface="Lato"/>
                <a:cs typeface="Lato"/>
              </a:rPr>
              <a:t>ILPQC Birth Equity Project Lea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02351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ACBE3-66D6-42C1-9030-4E40041AC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gaging Hospital Teams in Respectful Care Education and Implementation</a:t>
            </a:r>
            <a:r>
              <a:rPr lang="en-US" sz="1800">
                <a:solidFill>
                  <a:srgbClr val="1F497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FE3D0C-21A9-45BC-8250-35AADD049B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Elena Jenkins BSN, RN</a:t>
            </a:r>
          </a:p>
          <a:p>
            <a:r>
              <a:rPr lang="en-US"/>
              <a:t>DNP Student</a:t>
            </a:r>
          </a:p>
          <a:p>
            <a:r>
              <a:rPr lang="en-US"/>
              <a:t>SSM St Mary’s Hospital – St Louis</a:t>
            </a:r>
          </a:p>
        </p:txBody>
      </p:sp>
      <p:pic>
        <p:nvPicPr>
          <p:cNvPr id="8" name="Picture Placeholder 7" descr="A person holding a baby&#10;&#10;Description automatically generated">
            <a:extLst>
              <a:ext uri="{FF2B5EF4-FFF2-40B4-BE49-F238E27FC236}">
                <a16:creationId xmlns:a16="http://schemas.microsoft.com/office/drawing/2014/main" id="{5D25E4A5-679E-5606-215C-ED2DA76C6DE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20963" y="0"/>
            <a:ext cx="9571037" cy="6858000"/>
          </a:xfrm>
        </p:spPr>
      </p:pic>
    </p:spTree>
    <p:extLst>
      <p:ext uri="{BB962C8B-B14F-4D97-AF65-F5344CB8AC3E}">
        <p14:creationId xmlns:p14="http://schemas.microsoft.com/office/powerpoint/2010/main" val="391612861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erson standing on a cliff overlooking a body of water&#10;&#10;Description automatically generated">
            <a:extLst>
              <a:ext uri="{FF2B5EF4-FFF2-40B4-BE49-F238E27FC236}">
                <a16:creationId xmlns:a16="http://schemas.microsoft.com/office/drawing/2014/main" id="{83CCE4C6-8520-A3A0-E28A-ADB92BC750B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52B1BC-5817-1E4B-9344-DD67674788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4000">
                <a:solidFill>
                  <a:schemeClr val="accent1">
                    <a:lumMod val="50000"/>
                  </a:schemeClr>
                </a:solidFill>
              </a:rPr>
              <a:t>Where to start?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C8BB72-B9D5-854E-E098-DCA9912821A7}"/>
              </a:ext>
            </a:extLst>
          </p:cNvPr>
          <p:cNvSpPr txBox="1"/>
          <p:nvPr/>
        </p:nvSpPr>
        <p:spPr>
          <a:xfrm>
            <a:off x="249382" y="6513945"/>
            <a:ext cx="6197600" cy="240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-228600" algn="l">
              <a:lnSpc>
                <a:spcPts val="1800"/>
              </a:lnSpc>
              <a:spcAft>
                <a:spcPts val="600"/>
              </a:spcAft>
            </a:pPr>
            <a:r>
              <a:rPr lang="en-US" sz="80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2 Best Encouraging Quotes That Change You - Preet Kamal</a:t>
            </a:r>
            <a:endParaRPr lang="en-US" sz="8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6215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1E275E-AF7D-D947-95C6-D6526F22D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45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0C9E5E2-A294-4F99-AB7D-9358C0F72E0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57199" y="1781175"/>
            <a:ext cx="5524503" cy="4165600"/>
          </a:xfrm>
        </p:spPr>
        <p:txBody>
          <a:bodyPr>
            <a:normAutofit fontScale="92500"/>
          </a:bodyPr>
          <a:lstStyle/>
          <a:p>
            <a:r>
              <a:rPr lang="en-US" sz="2400">
                <a:solidFill>
                  <a:schemeClr val="accent1">
                    <a:lumMod val="50000"/>
                  </a:schemeClr>
                </a:solidFill>
              </a:rPr>
              <a:t>SPEAK UP  Resources</a:t>
            </a:r>
            <a:endParaRPr lang="en-US" sz="2400" b="1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en-US" sz="2400">
                <a:solidFill>
                  <a:schemeClr val="accent1">
                    <a:lumMod val="50000"/>
                  </a:schemeClr>
                </a:solidFill>
              </a:rPr>
              <a:t>Used 28 day SPEAK UP Challenge to start</a:t>
            </a:r>
          </a:p>
          <a:p>
            <a:pPr lvl="3"/>
            <a:r>
              <a:rPr lang="en-US" sz="2400" b="0">
                <a:solidFill>
                  <a:schemeClr val="accent1">
                    <a:lumMod val="50000"/>
                  </a:schemeClr>
                </a:solidFill>
              </a:rPr>
              <a:t>Implemented on all 4 WS units (including NICU) – partnered with Mission in Action Team and posted hospital-wide</a:t>
            </a:r>
          </a:p>
          <a:p>
            <a:pPr lvl="2"/>
            <a:r>
              <a:rPr lang="en-US" sz="2400">
                <a:solidFill>
                  <a:schemeClr val="accent1">
                    <a:lumMod val="50000"/>
                  </a:schemeClr>
                </a:solidFill>
              </a:rPr>
              <a:t>Requested grant funding from our Foundation: </a:t>
            </a:r>
            <a:r>
              <a:rPr lang="en-US" sz="2400" b="0">
                <a:solidFill>
                  <a:schemeClr val="accent1">
                    <a:lumMod val="50000"/>
                  </a:schemeClr>
                </a:solidFill>
              </a:rPr>
              <a:t>Speak Up Training Grant – 16 employees across 4 units attended training, 2 additional employees attended for a total of 18</a:t>
            </a:r>
          </a:p>
          <a:p>
            <a:pPr lvl="2"/>
            <a:endParaRPr lang="en-US" b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FAA6F41E-D6FE-4304-9D90-CBD673095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St Mary’s Respectful Care Education Journey</a:t>
            </a:r>
            <a:endParaRPr lang="en-US" sz="3600" b="1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A39598-7430-06A6-C907-0C4F93E0FA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4106" y="1351336"/>
            <a:ext cx="3898582" cy="4595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55317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3C19C4-721E-4F92-BF7B-AD2F2E553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5677-3D20-0C46-8497-54D73E689044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408144-5885-4E17-A131-365D900BB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Implicit Bias Train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BDB886-5218-4461-B021-D4137E6B01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33499"/>
            <a:ext cx="6580414" cy="5029202"/>
          </a:xfrm>
        </p:spPr>
        <p:txBody>
          <a:bodyPr>
            <a:normAutofit/>
          </a:bodyPr>
          <a:lstStyle/>
          <a:p>
            <a:pPr marL="914400" lvl="2" indent="-457200"/>
            <a:endParaRPr lang="en-US" sz="3000">
              <a:solidFill>
                <a:schemeClr val="accent1">
                  <a:lumMod val="50000"/>
                </a:schemeClr>
              </a:solidFill>
            </a:endParaRPr>
          </a:p>
          <a:p>
            <a:pPr marL="914400" lvl="2" indent="-457200"/>
            <a:endParaRPr lang="en-US" sz="3000">
              <a:solidFill>
                <a:schemeClr val="accent1">
                  <a:lumMod val="50000"/>
                </a:schemeClr>
              </a:solidFill>
            </a:endParaRPr>
          </a:p>
          <a:p>
            <a:pPr marL="914400" lvl="2" indent="-457200"/>
            <a:r>
              <a:rPr lang="en-US" sz="3000" b="0">
                <a:solidFill>
                  <a:schemeClr val="accent1">
                    <a:lumMod val="50000"/>
                  </a:schemeClr>
                </a:solidFill>
              </a:rPr>
              <a:t>Diversity Science modules on LMS for RN/support staff</a:t>
            </a:r>
          </a:p>
          <a:p>
            <a:pPr marL="914400" lvl="2" indent="-457200"/>
            <a:r>
              <a:rPr lang="en-US" sz="3000">
                <a:solidFill>
                  <a:schemeClr val="accent1">
                    <a:lumMod val="50000"/>
                  </a:schemeClr>
                </a:solidFill>
              </a:rPr>
              <a:t>Created implicit bias education lecture</a:t>
            </a:r>
            <a:r>
              <a:rPr lang="en-US" sz="3000" b="0">
                <a:solidFill>
                  <a:schemeClr val="accent1">
                    <a:lumMod val="50000"/>
                  </a:schemeClr>
                </a:solidFill>
              </a:rPr>
              <a:t>, integrated into Skills Days</a:t>
            </a:r>
          </a:p>
          <a:p>
            <a:pPr marL="914400" lvl="2" indent="-457200"/>
            <a:r>
              <a:rPr lang="en-US" sz="3000" b="0">
                <a:solidFill>
                  <a:schemeClr val="accent1">
                    <a:lumMod val="50000"/>
                  </a:schemeClr>
                </a:solidFill>
              </a:rPr>
              <a:t>Grand Rounds for Physicians/Residents</a:t>
            </a:r>
            <a:endParaRPr lang="en-US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7F384C-80CA-4813-9CA6-1729905F7A8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04546">
            <a:off x="7155951" y="2591172"/>
            <a:ext cx="3352744" cy="18212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3260A6-BBEF-44BD-96DD-34E0C0D07E8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7807" y="4075888"/>
            <a:ext cx="3427908" cy="213036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F65D408-7180-4793-BD2B-ED5FD9082CE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42926">
            <a:off x="7077006" y="815186"/>
            <a:ext cx="4733803" cy="2157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6938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F072AA-FBE1-7341-8726-7BF4406129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tIns="0" bIns="822960" anchor="ctr" anchorCtr="0">
            <a:noAutofit/>
          </a:bodyPr>
          <a:lstStyle/>
          <a:p>
            <a:r>
              <a:rPr lang="en-US"/>
              <a:t>Film viewings /</a:t>
            </a:r>
          </a:p>
          <a:p>
            <a:r>
              <a:rPr lang="en-US"/>
              <a:t>Panel Discussion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AEFAF9-4A0D-084E-9304-D5C6DE067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47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F0A9FD-9D70-8035-934A-A0B95C69EFE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0541" y="870379"/>
            <a:ext cx="2109108" cy="316456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2302B8-92B4-E8CF-EF55-58F3934B01D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1422" y="147619"/>
            <a:ext cx="2109109" cy="316456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37E62A4-EC42-91FD-8DDC-2DAD23DEA9B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7742" y="3545821"/>
            <a:ext cx="1868502" cy="280275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3ED71B7-7E5B-DF17-C73D-A4410441E60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45488">
            <a:off x="9544734" y="1371599"/>
            <a:ext cx="2442074" cy="216211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D491BE8-2BA3-6517-9A80-3781764C3A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974927">
            <a:off x="5750513" y="3718682"/>
            <a:ext cx="2169018" cy="282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23801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D59FB-2BE6-B14C-AEBB-AC643B7C0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198" y="6362701"/>
            <a:ext cx="315849" cy="231921"/>
          </a:xfrm>
        </p:spPr>
        <p:txBody>
          <a:bodyPr/>
          <a:lstStyle/>
          <a:p>
            <a:fld id="{1E3D5677-3D20-0C46-8497-54D73E689044}" type="slidenum">
              <a:rPr lang="en-US"/>
              <a:pPr/>
              <a:t>48</a:t>
            </a:fld>
            <a:endParaRPr lang="en-US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EF1705FF-5CB2-4EF0-BB52-61E2B4CD3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60374"/>
            <a:ext cx="10004425" cy="1063625"/>
          </a:xfrm>
        </p:spPr>
        <p:txBody>
          <a:bodyPr/>
          <a:lstStyle/>
          <a:p>
            <a:r>
              <a:rPr lang="en-US" b="1">
                <a:solidFill>
                  <a:schemeClr val="accent1">
                    <a:lumMod val="50000"/>
                  </a:schemeClr>
                </a:solidFill>
              </a:rPr>
              <a:t>Hearing Patient Voices: PREM Surve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7805A92-34C2-440C-8B77-BBAD5AEC2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8" y="1920649"/>
            <a:ext cx="11277602" cy="4881154"/>
          </a:xfrm>
        </p:spPr>
        <p:txBody>
          <a:bodyPr>
            <a:normAutofit/>
          </a:bodyPr>
          <a:lstStyle/>
          <a:p>
            <a:pPr lvl="0"/>
            <a:endParaRPr lang="en-US" sz="2800" b="0"/>
          </a:p>
          <a:p>
            <a:endParaRPr lang="en-US" sz="2700" b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23EE193-698F-4528-9D7B-DEDED70EE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6452" y="1481547"/>
            <a:ext cx="5225920" cy="488115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9315208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331D61-1917-7319-A119-FB6B8B3BE1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800">
                <a:solidFill>
                  <a:schemeClr val="accent1">
                    <a:lumMod val="50000"/>
                  </a:schemeClr>
                </a:solidFill>
              </a:rPr>
              <a:t>Hearing Patient Voices: Respectful Care Events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>
                    <a:lumMod val="50000"/>
                  </a:schemeClr>
                </a:solidFill>
              </a:rPr>
              <a:t>Discussion in small groups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>
                    <a:lumMod val="50000"/>
                  </a:schemeClr>
                </a:solidFill>
              </a:rPr>
              <a:t>Small groups joined larger group for discussion, and reported out talking points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>
                    <a:lumMod val="50000"/>
                  </a:schemeClr>
                </a:solidFill>
              </a:rPr>
              <a:t>Multidisciplinary attendees: Physicians, nurses, administrative leadership, former patients, CHWs, Doula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3325EB3-D047-0DE7-1842-CFCFB685BC7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920971">
            <a:off x="347672" y="519710"/>
            <a:ext cx="3859363" cy="21708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EC48D14-0066-E492-1016-9A431F47C4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7353" y="2467522"/>
            <a:ext cx="2515980" cy="15682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8BAC54E-D882-C8DB-284F-76EC7EC5D43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798" y="3625957"/>
            <a:ext cx="2709333" cy="2032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E13504-A80B-2F63-41F7-D7CE73D7F0B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01573">
            <a:off x="4959880" y="344833"/>
            <a:ext cx="2272241" cy="2936491"/>
          </a:xfrm>
          <a:prstGeom prst="rect">
            <a:avLst/>
          </a:prstGeom>
        </p:spPr>
      </p:pic>
      <p:pic>
        <p:nvPicPr>
          <p:cNvPr id="8" name="Picture 7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E3DAA7C3-3223-4BDC-3CEB-9C798C49D74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4734" y="3564883"/>
            <a:ext cx="2790765" cy="2093074"/>
          </a:xfrm>
          <a:prstGeom prst="rect">
            <a:avLst/>
          </a:prstGeom>
        </p:spPr>
      </p:pic>
      <p:pic>
        <p:nvPicPr>
          <p:cNvPr id="11" name="Picture 10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D82B556A-9F03-3C72-255C-A784A5CC7CC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2133" y="5008289"/>
            <a:ext cx="2348697" cy="176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3177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85AA37-0DF0-577D-12F0-0C47C6130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>
            <a:extLst>
              <a:ext uri="{FF2B5EF4-FFF2-40B4-BE49-F238E27FC236}">
                <a16:creationId xmlns:a16="http://schemas.microsoft.com/office/drawing/2014/main" id="{1CC47398-47D1-3991-0095-85F08C7014B2}"/>
              </a:ext>
            </a:extLst>
          </p:cNvPr>
          <p:cNvSpPr/>
          <p:nvPr/>
        </p:nvSpPr>
        <p:spPr>
          <a:xfrm>
            <a:off x="5696651" y="218534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72552A16-8979-8328-044D-EB965134F322}"/>
              </a:ext>
            </a:extLst>
          </p:cNvPr>
          <p:cNvSpPr txBox="1"/>
          <p:nvPr/>
        </p:nvSpPr>
        <p:spPr>
          <a:xfrm>
            <a:off x="6762505" y="692602"/>
            <a:ext cx="4702289" cy="14048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Interested in Facilitating an ILPQC Face-to-Face </a:t>
            </a:r>
            <a:endParaRPr lang="en-US">
              <a:solidFill>
                <a:srgbClr val="000000"/>
              </a:solidFill>
              <a:latin typeface="Calibri"/>
              <a:ea typeface="+mn-lt"/>
              <a:cs typeface="Calibri"/>
            </a:endParaRPr>
          </a:p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Breakout Session?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19" name="Freeform 6">
            <a:extLst>
              <a:ext uri="{FF2B5EF4-FFF2-40B4-BE49-F238E27FC236}">
                <a16:creationId xmlns:a16="http://schemas.microsoft.com/office/drawing/2014/main" id="{69B6B7F5-0814-52E5-DC91-550599718ADA}"/>
              </a:ext>
            </a:extLst>
          </p:cNvPr>
          <p:cNvSpPr/>
          <p:nvPr/>
        </p:nvSpPr>
        <p:spPr>
          <a:xfrm>
            <a:off x="5696650" y="4301703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F70AE4-9AF0-75FE-8520-8A3427521F2B}"/>
              </a:ext>
            </a:extLst>
          </p:cNvPr>
          <p:cNvSpPr txBox="1"/>
          <p:nvPr/>
        </p:nvSpPr>
        <p:spPr>
          <a:xfrm>
            <a:off x="6938513" y="4638136"/>
            <a:ext cx="418093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600" b="1">
                <a:solidFill>
                  <a:srgbClr val="144B90"/>
                </a:solidFill>
                <a:latin typeface="Prompt"/>
                <a:cs typeface="Segoe UI"/>
              </a:rPr>
              <a:t>Interested in Volunteering on the Face-to-Face Planning Committee?</a:t>
            </a:r>
            <a:endParaRPr lang="en-US"/>
          </a:p>
        </p:txBody>
      </p:sp>
      <p:pic>
        <p:nvPicPr>
          <p:cNvPr id="21" name="Picture 20" descr="A poster with hands raised&#10;&#10;Description automatically generated">
            <a:extLst>
              <a:ext uri="{FF2B5EF4-FFF2-40B4-BE49-F238E27FC236}">
                <a16:creationId xmlns:a16="http://schemas.microsoft.com/office/drawing/2014/main" id="{4D872AB4-619D-ECAA-EBA3-1B41B673649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942" y="135147"/>
            <a:ext cx="5062116" cy="6573327"/>
          </a:xfrm>
          <a:prstGeom prst="rect">
            <a:avLst/>
          </a:prstGeom>
        </p:spPr>
      </p:pic>
      <p:sp>
        <p:nvSpPr>
          <p:cNvPr id="2" name="Freeform 2">
            <a:extLst>
              <a:ext uri="{FF2B5EF4-FFF2-40B4-BE49-F238E27FC236}">
                <a16:creationId xmlns:a16="http://schemas.microsoft.com/office/drawing/2014/main" id="{2B173B5D-F90F-66F4-E5DE-807C02C7D380}"/>
              </a:ext>
            </a:extLst>
          </p:cNvPr>
          <p:cNvSpPr/>
          <p:nvPr/>
        </p:nvSpPr>
        <p:spPr>
          <a:xfrm>
            <a:off x="1796749" y="213135"/>
            <a:ext cx="1733828" cy="827039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2" name="Double Wave 21">
            <a:extLst>
              <a:ext uri="{FF2B5EF4-FFF2-40B4-BE49-F238E27FC236}">
                <a16:creationId xmlns:a16="http://schemas.microsoft.com/office/drawing/2014/main" id="{8ABA3E72-0F12-C088-6AD1-F2AC98F861D2}"/>
              </a:ext>
            </a:extLst>
          </p:cNvPr>
          <p:cNvSpPr/>
          <p:nvPr/>
        </p:nvSpPr>
        <p:spPr>
          <a:xfrm>
            <a:off x="6288835" y="2843212"/>
            <a:ext cx="5449019" cy="1063924"/>
          </a:xfrm>
          <a:prstGeom prst="doubleWav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>
                <a:solidFill>
                  <a:schemeClr val="tx2"/>
                </a:solidFill>
                <a:ea typeface="Calibri"/>
                <a:cs typeface="Calibri"/>
              </a:rPr>
              <a:t>Email</a:t>
            </a:r>
            <a:r>
              <a:rPr lang="en-US" sz="2800">
                <a:ea typeface="Calibri"/>
                <a:cs typeface="Calibri"/>
              </a:rPr>
              <a:t> </a:t>
            </a:r>
            <a:r>
              <a:rPr lang="en-US" sz="2800">
                <a:solidFill>
                  <a:srgbClr val="1C498B"/>
                </a:solidFill>
                <a:ea typeface="Calibri"/>
                <a:cs typeface="Calibr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</a:p>
        </p:txBody>
      </p:sp>
    </p:spTree>
    <p:extLst>
      <p:ext uri="{BB962C8B-B14F-4D97-AF65-F5344CB8AC3E}">
        <p14:creationId xmlns:p14="http://schemas.microsoft.com/office/powerpoint/2010/main" val="184845852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B25686-D6EA-1297-DD45-D036129CA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5677-3D20-0C46-8497-54D73E689044}" type="slidenum">
              <a:rPr lang="en-US" smtClean="0"/>
              <a:pPr/>
              <a:t>50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5AF5DD-99FA-0B2D-984A-C8A2EC8509E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8243" y="782460"/>
            <a:ext cx="3541832" cy="45417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386B1D7-7CE9-11FC-3FA7-DCC208FDF54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26286">
            <a:off x="7531679" y="892702"/>
            <a:ext cx="3525505" cy="454224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88911DC-F7DB-97DA-CBAA-572302F6D64F}"/>
              </a:ext>
            </a:extLst>
          </p:cNvPr>
          <p:cNvSpPr txBox="1"/>
          <p:nvPr/>
        </p:nvSpPr>
        <p:spPr>
          <a:xfrm>
            <a:off x="325507" y="177849"/>
            <a:ext cx="60973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>
                <a:solidFill>
                  <a:schemeClr val="accent1">
                    <a:lumMod val="50000"/>
                  </a:schemeClr>
                </a:solidFill>
              </a:rPr>
              <a:t>Hearing Patient Voices: Sharing Feedback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3FAF4CF-FD35-9BBF-1810-A86A1066B56E}"/>
              </a:ext>
            </a:extLst>
          </p:cNvPr>
          <p:cNvSpPr txBox="1">
            <a:spLocks/>
          </p:cNvSpPr>
          <p:nvPr/>
        </p:nvSpPr>
        <p:spPr>
          <a:xfrm>
            <a:off x="0" y="1432916"/>
            <a:ext cx="3616326" cy="4165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1" i="0" kern="1200">
                <a:solidFill>
                  <a:schemeClr val="tx2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Tx/>
              <a:buNone/>
              <a:tabLst/>
              <a:defRPr sz="2000" b="0" i="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457200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2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688975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chemeClr val="tx2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914400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457200" indent="-22860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6pPr>
            <a:lvl7pPr marL="457200" indent="-22860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7pPr>
            <a:lvl8pPr marL="457200" indent="-22860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8pPr>
            <a:lvl9pPr marL="457200" indent="-228600" algn="l" defTabSz="914400" rtl="0" eaLnBrk="1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lvl="2"/>
            <a:r>
              <a:rPr lang="en-US">
                <a:solidFill>
                  <a:schemeClr val="accent1">
                    <a:lumMod val="50000"/>
                  </a:schemeClr>
                </a:solidFill>
              </a:rPr>
              <a:t>Notes summarizing Respectful Care Lunch </a:t>
            </a:r>
          </a:p>
          <a:p>
            <a:pPr lvl="2"/>
            <a:r>
              <a:rPr lang="en-US">
                <a:solidFill>
                  <a:schemeClr val="accent1">
                    <a:lumMod val="50000"/>
                  </a:schemeClr>
                </a:solidFill>
              </a:rPr>
              <a:t>Sharing PREM Survey results</a:t>
            </a:r>
          </a:p>
          <a:p>
            <a:pPr lvl="2"/>
            <a:r>
              <a:rPr lang="en-US">
                <a:solidFill>
                  <a:schemeClr val="accent1">
                    <a:lumMod val="50000"/>
                  </a:schemeClr>
                </a:solidFill>
              </a:rPr>
              <a:t>Discussion of results at L&amp;D staff meetings</a:t>
            </a:r>
          </a:p>
          <a:p>
            <a:pPr lvl="2"/>
            <a:r>
              <a:rPr lang="en-US">
                <a:solidFill>
                  <a:schemeClr val="accent1">
                    <a:lumMod val="50000"/>
                  </a:schemeClr>
                </a:solidFill>
              </a:rPr>
              <a:t>Blog written in newsletter format and distributed to all Women’s Services depts and Providers </a:t>
            </a:r>
          </a:p>
        </p:txBody>
      </p:sp>
    </p:spTree>
    <p:extLst>
      <p:ext uri="{BB962C8B-B14F-4D97-AF65-F5344CB8AC3E}">
        <p14:creationId xmlns:p14="http://schemas.microsoft.com/office/powerpoint/2010/main" val="47299794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BB3A9F-C3E6-E24C-98D8-4D2EDF3C7C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36724" y="2835477"/>
            <a:ext cx="4462907" cy="3112885"/>
          </a:xfrm>
        </p:spPr>
        <p:txBody>
          <a:bodyPr/>
          <a:lstStyle/>
          <a:p>
            <a:r>
              <a:rPr lang="en-US"/>
              <a:t>Elena Jenkins BSN, RN</a:t>
            </a:r>
          </a:p>
          <a:p>
            <a:pPr marL="0" indent="0">
              <a:buNone/>
            </a:pPr>
            <a:r>
              <a:rPr lang="en-US"/>
              <a:t>    DNP Student</a:t>
            </a:r>
          </a:p>
          <a:p>
            <a:r>
              <a:rPr lang="en-US"/>
              <a:t>Nurse Manager Labor and Delivery</a:t>
            </a:r>
          </a:p>
          <a:p>
            <a:r>
              <a:rPr lang="en-US"/>
              <a:t>SSM St Mary’s Hospital – St Louis</a:t>
            </a:r>
          </a:p>
          <a:p>
            <a:r>
              <a:rPr lang="en-US"/>
              <a:t>Elena.jenkins@ssmhealth.co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D13AE0-4A4E-1E49-A477-3DA9CBA42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60773957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10000"/>
            <a:lumOff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circle with a black background&#10;&#10;Description automatically generated">
            <a:extLst>
              <a:ext uri="{FF2B5EF4-FFF2-40B4-BE49-F238E27FC236}">
                <a16:creationId xmlns:a16="http://schemas.microsoft.com/office/drawing/2014/main" id="{15236187-932A-891E-B925-E2F185B835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6139" y="1717169"/>
            <a:ext cx="1981200" cy="2514600"/>
          </a:xfrm>
          <a:prstGeom prst="rect">
            <a:avLst/>
          </a:prstGeom>
          <a:ln>
            <a:noFill/>
          </a:ln>
        </p:spPr>
      </p:pic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FB919D06-B29E-630F-A603-3C45FB8DF3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8570" y="-806"/>
            <a:ext cx="6171313" cy="2551813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8E671B3-515D-0AE8-68F5-1AF9BA1A81DE}"/>
              </a:ext>
            </a:extLst>
          </p:cNvPr>
          <p:cNvSpPr txBox="1">
            <a:spLocks/>
          </p:cNvSpPr>
          <p:nvPr/>
        </p:nvSpPr>
        <p:spPr>
          <a:xfrm>
            <a:off x="124374" y="370952"/>
            <a:ext cx="5838220" cy="519800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solidFill>
                  <a:srgbClr val="00B050"/>
                </a:solidFill>
                <a:latin typeface="DM Sans"/>
                <a:ea typeface="Lato"/>
                <a:cs typeface="Lato"/>
              </a:rPr>
              <a:t>Opportunity: </a:t>
            </a:r>
            <a:r>
              <a:rPr lang="en-US">
                <a:latin typeface="DM Sans"/>
                <a:ea typeface="Lato"/>
                <a:cs typeface="Lato"/>
              </a:rPr>
              <a:t>Looking to enroll </a:t>
            </a:r>
            <a:r>
              <a:rPr lang="en-US" b="1">
                <a:latin typeface="DM Sans"/>
                <a:ea typeface="Lato"/>
                <a:cs typeface="Lato"/>
              </a:rPr>
              <a:t>100 Hospitals </a:t>
            </a:r>
            <a:r>
              <a:rPr lang="en-US">
                <a:latin typeface="DM Sans"/>
                <a:ea typeface="Lato"/>
                <a:cs typeface="Lato"/>
              </a:rPr>
              <a:t> </a:t>
            </a:r>
          </a:p>
          <a:p>
            <a:pPr lvl="1">
              <a:buClr>
                <a:srgbClr val="156082"/>
              </a:buClr>
              <a:buFont typeface="Courier New" panose="020B0604020202020204" pitchFamily="34" charset="0"/>
              <a:buChar char="o"/>
            </a:pPr>
            <a:r>
              <a:rPr lang="en-US">
                <a:latin typeface="DM Sans"/>
                <a:ea typeface="Lato"/>
                <a:cs typeface="Lato"/>
              </a:rPr>
              <a:t>Free training and support from a diverse team of interdisciplinary experts to implement the </a:t>
            </a:r>
            <a:r>
              <a:rPr lang="en-US" b="1">
                <a:latin typeface="DM Sans"/>
                <a:ea typeface="Lato"/>
                <a:cs typeface="Lato"/>
              </a:rPr>
              <a:t>Ten Steps to Successful Breastfeeding </a:t>
            </a:r>
          </a:p>
          <a:p>
            <a:pPr lvl="1">
              <a:buClr>
                <a:srgbClr val="156082"/>
              </a:buClr>
              <a:buFont typeface="Courier New" panose="020B0604020202020204" pitchFamily="34" charset="0"/>
              <a:buChar char="o"/>
            </a:pPr>
            <a:r>
              <a:rPr lang="en-US" b="1">
                <a:latin typeface="DM Sans"/>
                <a:ea typeface="Lato"/>
                <a:cs typeface="Lato"/>
              </a:rPr>
              <a:t>25 Hospitals </a:t>
            </a:r>
            <a:r>
              <a:rPr lang="en-US">
                <a:latin typeface="DM Sans"/>
                <a:ea typeface="Lato"/>
                <a:cs typeface="Lato"/>
              </a:rPr>
              <a:t>already enrolled,</a:t>
            </a:r>
            <a:r>
              <a:rPr lang="en-US" b="1">
                <a:latin typeface="DM Sans"/>
                <a:ea typeface="Lato"/>
                <a:cs typeface="Lato"/>
              </a:rPr>
              <a:t> 0 in </a:t>
            </a:r>
            <a:r>
              <a:rPr lang="en-US">
                <a:latin typeface="DM Sans"/>
                <a:ea typeface="Lato"/>
                <a:cs typeface="Lato"/>
              </a:rPr>
              <a:t>Illinois</a:t>
            </a:r>
            <a:r>
              <a:rPr lang="en-US" b="1">
                <a:latin typeface="DM Sans"/>
                <a:ea typeface="Lato"/>
                <a:cs typeface="Lato"/>
              </a:rPr>
              <a:t> </a:t>
            </a:r>
          </a:p>
          <a:p>
            <a:pPr lvl="1">
              <a:buClr>
                <a:srgbClr val="156082"/>
              </a:buClr>
              <a:buFont typeface="Courier New" panose="020B0604020202020204" pitchFamily="34" charset="0"/>
              <a:buChar char="o"/>
            </a:pPr>
            <a:r>
              <a:rPr lang="en-US" b="1">
                <a:latin typeface="DM Sans"/>
                <a:ea typeface="Lato"/>
                <a:cs typeface="Lato"/>
              </a:rPr>
              <a:t>View their informational webinar </a:t>
            </a:r>
            <a:r>
              <a:rPr lang="en-US" b="1">
                <a:latin typeface="DM Sans"/>
                <a:ea typeface="Lato"/>
                <a:cs typeface="Lato"/>
                <a:hlinkClick r:id="rId5"/>
              </a:rPr>
              <a:t>here.</a:t>
            </a:r>
          </a:p>
          <a:p>
            <a:endParaRPr lang="en-US">
              <a:latin typeface="DM Sans"/>
              <a:ea typeface="Lato"/>
              <a:cs typeface="Lato"/>
            </a:endParaRPr>
          </a:p>
        </p:txBody>
      </p:sp>
      <p:pic>
        <p:nvPicPr>
          <p:cNvPr id="6" name="Picture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C8C0844A-5A99-4779-A0E7-14F1C499F48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7025" y="2491298"/>
            <a:ext cx="6177715" cy="4363227"/>
          </a:xfrm>
          <a:prstGeom prst="rect">
            <a:avLst/>
          </a:prstGeom>
        </p:spPr>
      </p:pic>
      <p:pic>
        <p:nvPicPr>
          <p:cNvPr id="7" name="Picture 6" descr="A person kissing a baby&#10;&#10;Description automatically generated">
            <a:extLst>
              <a:ext uri="{FF2B5EF4-FFF2-40B4-BE49-F238E27FC236}">
                <a16:creationId xmlns:a16="http://schemas.microsoft.com/office/drawing/2014/main" id="{3A02A1E4-2D12-375F-8142-5E949180331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3326" y="3748021"/>
            <a:ext cx="3357819" cy="2923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5721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FC3E6-8E03-4AD0-DC5A-624DF52B6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711842"/>
            <a:ext cx="9365380" cy="1004586"/>
          </a:xfrm>
        </p:spPr>
        <p:txBody>
          <a:bodyPr/>
          <a:lstStyle/>
          <a:p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ESSI Data Collection</a:t>
            </a:r>
          </a:p>
        </p:txBody>
      </p:sp>
    </p:spTree>
    <p:extLst>
      <p:ext uri="{BB962C8B-B14F-4D97-AF65-F5344CB8AC3E}">
        <p14:creationId xmlns:p14="http://schemas.microsoft.com/office/powerpoint/2010/main" val="134178383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white blob&#10;&#10;Description automatically generated">
            <a:extLst>
              <a:ext uri="{FF2B5EF4-FFF2-40B4-BE49-F238E27FC236}">
                <a16:creationId xmlns:a16="http://schemas.microsoft.com/office/drawing/2014/main" id="{9EA02C1C-27BB-D0B9-13FF-7769D90AD0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906266" y="-767160"/>
            <a:ext cx="2057400" cy="1695450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ADE3F33-C3B5-E055-DCEE-2F9C85028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22" y="383940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Data Collection Timelines</a:t>
            </a:r>
            <a:endParaRPr lang="en-US" b="1">
              <a:solidFill>
                <a:srgbClr val="1C498B"/>
              </a:solidFill>
              <a:latin typeface="DM San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B859F-8E0E-956F-2CC7-6B793607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56684"/>
            <a:ext cx="7007355" cy="462027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b="1">
                <a:latin typeface="DM Sans"/>
                <a:ea typeface="Lato"/>
                <a:cs typeface="Lato"/>
              </a:rPr>
              <a:t>Baseline Data</a:t>
            </a:r>
            <a:r>
              <a:rPr lang="en-US" sz="2400" i="1">
                <a:latin typeface="DM Sans"/>
                <a:ea typeface="Lato"/>
                <a:cs typeface="Lato"/>
              </a:rPr>
              <a:t> (October-December 2023)</a:t>
            </a:r>
            <a:r>
              <a:rPr lang="en-US" sz="2400">
                <a:latin typeface="DM Sans"/>
                <a:ea typeface="Lato"/>
                <a:cs typeface="Lato"/>
              </a:rPr>
              <a:t>:</a:t>
            </a:r>
            <a:r>
              <a:rPr lang="en-US">
                <a:latin typeface="DM Sans"/>
                <a:ea typeface="Lato"/>
                <a:cs typeface="Lato"/>
              </a:rPr>
              <a:t>  was due </a:t>
            </a:r>
            <a:r>
              <a:rPr lang="en-US" b="1">
                <a:latin typeface="DM Sans"/>
                <a:ea typeface="Lato"/>
                <a:cs typeface="Lato"/>
              </a:rPr>
              <a:t>February 15th</a:t>
            </a:r>
            <a:endParaRPr lang="en-US"/>
          </a:p>
          <a:p>
            <a:pPr>
              <a:lnSpc>
                <a:spcPct val="100000"/>
              </a:lnSpc>
            </a:pPr>
            <a:r>
              <a:rPr lang="en-US">
                <a:latin typeface="DM Sans"/>
                <a:ea typeface="Lato"/>
                <a:cs typeface="Calibri"/>
              </a:rPr>
              <a:t>Ongoing data, due on the final day of the following month: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 i="1">
                <a:latin typeface="DM Sans"/>
                <a:ea typeface="Lato"/>
                <a:cs typeface="Calibri"/>
              </a:rPr>
              <a:t>January</a:t>
            </a:r>
            <a:r>
              <a:rPr lang="en-US">
                <a:latin typeface="DM Sans"/>
                <a:ea typeface="Lato"/>
                <a:cs typeface="Calibri"/>
              </a:rPr>
              <a:t> Data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February 29th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 i="1">
                <a:latin typeface="DM Sans"/>
                <a:ea typeface="Lato"/>
                <a:cs typeface="Calibri"/>
              </a:rPr>
              <a:t>February</a:t>
            </a:r>
            <a:r>
              <a:rPr lang="en-US">
                <a:latin typeface="DM Sans"/>
                <a:ea typeface="Lato"/>
                <a:cs typeface="Calibri"/>
              </a:rPr>
              <a:t> Data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March 31st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 i="1">
                <a:latin typeface="DM Sans"/>
                <a:ea typeface="Lato"/>
                <a:cs typeface="Calibri"/>
              </a:rPr>
              <a:t>March</a:t>
            </a:r>
            <a:r>
              <a:rPr lang="en-US">
                <a:latin typeface="DM Sans"/>
                <a:ea typeface="Lato"/>
                <a:cs typeface="Calibri"/>
              </a:rPr>
              <a:t> Data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April 30th</a:t>
            </a:r>
            <a:endParaRPr lang="en-US" b="1">
              <a:solidFill>
                <a:srgbClr val="FF0000"/>
              </a:solidFill>
              <a:latin typeface="DM Sans"/>
            </a:endParaRPr>
          </a:p>
          <a:p>
            <a:pPr marL="457200" lvl="1" indent="0">
              <a:lnSpc>
                <a:spcPct val="100000"/>
              </a:lnSpc>
              <a:buClr>
                <a:srgbClr val="1C498B"/>
              </a:buClr>
              <a:buNone/>
            </a:pPr>
            <a:endParaRPr lang="en-US">
              <a:solidFill>
                <a:srgbClr val="000000"/>
              </a:solidFill>
              <a:latin typeface="DM Sans"/>
              <a:ea typeface="Lato"/>
              <a:cs typeface="Calibri"/>
            </a:endParaRPr>
          </a:p>
          <a:p>
            <a:pPr marL="0" indent="0" algn="ctr">
              <a:lnSpc>
                <a:spcPct val="100000"/>
              </a:lnSpc>
              <a:buNone/>
            </a:pP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Lato"/>
              </a:rPr>
              <a:t>Award Data</a:t>
            </a:r>
            <a:r>
              <a:rPr lang="en-US">
                <a:latin typeface="DM Sans"/>
                <a:ea typeface="Lato"/>
                <a:cs typeface="Lato"/>
              </a:rPr>
              <a:t> (B</a:t>
            </a:r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aseline</a:t>
            </a:r>
            <a:r>
              <a:rPr lang="en-US">
                <a:latin typeface="DM Sans"/>
                <a:ea typeface="Lato"/>
                <a:cs typeface="Lato"/>
              </a:rPr>
              <a:t> – March 2024):     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Lato"/>
              </a:rPr>
              <a:t>April 30th</a:t>
            </a:r>
            <a:endParaRPr lang="en-US" b="1">
              <a:solidFill>
                <a:srgbClr val="FF0000"/>
              </a:solidFill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FBD2C-EF0D-27DE-A30C-E3B2A26CD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4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BEB7261-6CAD-A586-63E2-7EFA2E7C8857}"/>
              </a:ext>
            </a:extLst>
          </p:cNvPr>
          <p:cNvSpPr/>
          <p:nvPr/>
        </p:nvSpPr>
        <p:spPr>
          <a:xfrm>
            <a:off x="7936171" y="779189"/>
            <a:ext cx="3950389" cy="4200386"/>
          </a:xfrm>
          <a:prstGeom prst="roundRect">
            <a:avLst/>
          </a:prstGeom>
          <a:solidFill>
            <a:srgbClr val="1C498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latin typeface="Calibri"/>
                <a:cs typeface="Calibri"/>
              </a:rPr>
              <a:t> Need clarification about ESSI Data? </a:t>
            </a:r>
            <a:endParaRPr lang="en-US"/>
          </a:p>
          <a:p>
            <a:pPr algn="ctr"/>
            <a:r>
              <a:rPr lang="en-US" sz="3200" b="1">
                <a:latin typeface="Calibri"/>
                <a:cs typeface="Calibri"/>
              </a:rPr>
              <a:t>Watch the ESSI Data Training Webinar recording</a:t>
            </a:r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264C5B4-96BC-52D9-4761-56A7E9B3F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7" name="Picture 6" descr="A blue and white paint on a black background&#10;&#10;Description automatically generated">
            <a:extLst>
              <a:ext uri="{FF2B5EF4-FFF2-40B4-BE49-F238E27FC236}">
                <a16:creationId xmlns:a16="http://schemas.microsoft.com/office/drawing/2014/main" id="{9F750BFA-7CD3-D6B3-E929-7780FBD1D4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7057" y="4531404"/>
            <a:ext cx="4163495" cy="2176272"/>
          </a:xfrm>
          <a:prstGeom prst="rect">
            <a:avLst/>
          </a:prstGeom>
          <a:ln>
            <a:noFill/>
          </a:ln>
        </p:spPr>
      </p:pic>
      <p:pic>
        <p:nvPicPr>
          <p:cNvPr id="5" name="Graphic 4" descr="Questions outline">
            <a:extLst>
              <a:ext uri="{FF2B5EF4-FFF2-40B4-BE49-F238E27FC236}">
                <a16:creationId xmlns:a16="http://schemas.microsoft.com/office/drawing/2014/main" id="{8B33EB59-604B-4C20-B41F-710AE570BE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52168" y="516221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15361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6291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 Two ESSI Data Forms</a:t>
            </a:r>
            <a:endParaRPr lang="en-US" sz="4000" b="1">
              <a:solidFill>
                <a:srgbClr val="1C498B"/>
              </a:solidFill>
              <a:latin typeface="DM Sans"/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93EF601-CA84-ECB1-08DF-C8BAEC274F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7519508"/>
              </p:ext>
            </p:extLst>
          </p:nvPr>
        </p:nvGraphicFramePr>
        <p:xfrm>
          <a:off x="609600" y="1215516"/>
          <a:ext cx="11255021" cy="5140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6" name="Graphic 45" descr="Hospital with solid fill">
            <a:extLst>
              <a:ext uri="{FF2B5EF4-FFF2-40B4-BE49-F238E27FC236}">
                <a16:creationId xmlns:a16="http://schemas.microsoft.com/office/drawing/2014/main" id="{5E04828F-545E-7B88-1CDE-A6B8BD1213E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7476" y="805257"/>
            <a:ext cx="914400" cy="914400"/>
          </a:xfrm>
          <a:prstGeom prst="rect">
            <a:avLst/>
          </a:prstGeom>
        </p:spPr>
      </p:pic>
      <p:pic>
        <p:nvPicPr>
          <p:cNvPr id="47" name="Graphic 46" descr="Baby with solid fill">
            <a:extLst>
              <a:ext uri="{FF2B5EF4-FFF2-40B4-BE49-F238E27FC236}">
                <a16:creationId xmlns:a16="http://schemas.microsoft.com/office/drawing/2014/main" id="{C13E9A9E-F1C1-0883-4F89-871783B27D2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2835" y="925279"/>
            <a:ext cx="914400" cy="914400"/>
          </a:xfrm>
          <a:prstGeom prst="rect">
            <a:avLst/>
          </a:pr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BC6E56A-CF12-B196-067F-25EE24D1B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176018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267" y="606414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latin typeface="DM Sans"/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  <a:latin typeface="DM Sans"/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349F207-60F4-234D-4729-00A6824BBB2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6159078"/>
              </p:ext>
            </p:extLst>
          </p:nvPr>
        </p:nvGraphicFramePr>
        <p:xfrm>
          <a:off x="610162" y="1897931"/>
          <a:ext cx="10972800" cy="3787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>
                  <a:extLst>
                    <a:ext uri="{9D8B030D-6E8A-4147-A177-3AD203B41FA5}">
                      <a16:colId xmlns:a16="http://schemas.microsoft.com/office/drawing/2014/main" val="2818186165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021936841"/>
                    </a:ext>
                  </a:extLst>
                </a:gridCol>
              </a:tblGrid>
              <a:tr h="952500">
                <a:tc>
                  <a:txBody>
                    <a:bodyPr/>
                    <a:lstStyle/>
                    <a:p>
                      <a:pPr algn="ctr"/>
                      <a:r>
                        <a:rPr lang="en-US" sz="2800">
                          <a:latin typeface="DM Sans"/>
                        </a:rPr>
                        <a:t>Date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>
                          <a:latin typeface="DM Sans"/>
                        </a:rPr>
                        <a:t>Topic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940731"/>
                  </a:ext>
                </a:extLst>
              </a:tr>
              <a:tr h="79872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March 18th, 2024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Safe Sleep Edu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4064444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April 15th, 2024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ESSI Monthly Webina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6935563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May 22nd, 2024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 May 23rd,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ILPQC Face-to-Face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/>
                        </a:rPr>
                        <a:t>Springfield, I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7776171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6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742BC3D-6CDA-121F-6028-CA1546518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 dirty="0"/>
              <a:t>57</a:t>
            </a:fld>
            <a:endParaRPr/>
          </a:p>
        </p:txBody>
      </p:sp>
      <p:pic>
        <p:nvPicPr>
          <p:cNvPr id="12726" name="Google Shape;12726;p1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27" name="Google Shape;12727;p1192" descr="A text on a black background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162136" y="2198002"/>
            <a:ext cx="6107502" cy="4201655"/>
          </a:xfrm>
          <a:prstGeom prst="rect">
            <a:avLst/>
          </a:prstGeom>
          <a:noFill/>
          <a:ln>
            <a:noFill/>
          </a:ln>
        </p:spPr>
      </p:pic>
      <p:sp>
        <p:nvSpPr>
          <p:cNvPr id="12728" name="Google Shape;12728;p1192"/>
          <p:cNvSpPr/>
          <p:nvPr/>
        </p:nvSpPr>
        <p:spPr>
          <a:xfrm>
            <a:off x="6799951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29" name="Google Shape;12729;p1192"/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DM Sans"/>
                <a:ea typeface="Arial"/>
                <a:cs typeface="Arial"/>
                <a:sym typeface="Arial"/>
              </a:rPr>
              <a:t>ILPQC </a:t>
            </a:r>
            <a:endParaRPr lang="en-US" sz="3900" b="0" i="0" u="none" strike="noStrike" cap="none">
              <a:solidFill>
                <a:srgbClr val="083C92"/>
              </a:solidFill>
              <a:latin typeface="DM Sans"/>
              <a:ea typeface="Arial"/>
              <a:cs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DM Sans"/>
                <a:ea typeface="Arial"/>
                <a:cs typeface="Arial"/>
                <a:sym typeface="Arial"/>
              </a:rPr>
              <a:t>2024 Events</a:t>
            </a:r>
            <a:endParaRPr sz="3900" b="0" i="0" u="none" strike="noStrike" cap="none">
              <a:solidFill>
                <a:srgbClr val="083C92"/>
              </a:solidFill>
              <a:latin typeface="DM Sans"/>
              <a:ea typeface="Arial"/>
              <a:cs typeface="Arial"/>
              <a:sym typeface="Arial"/>
            </a:endParaRPr>
          </a:p>
        </p:txBody>
      </p:sp>
      <p:pic>
        <p:nvPicPr>
          <p:cNvPr id="12730" name="Google Shape;12730;p1192" descr="Balloons outline"/>
          <p:cNvPicPr preferRelativeResize="0"/>
          <p:nvPr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7064" y="13946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31" name="Google Shape;12731;p1192" descr="Dance outline"/>
          <p:cNvPicPr preferRelativeResize="0"/>
          <p:nvPr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0234" y="1289649"/>
            <a:ext cx="914400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0BDAA27-2B2B-7C1B-EFFA-E96DF2430B73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86481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755252" y="-42351"/>
            <a:ext cx="8647912" cy="6941844"/>
            <a:chOff x="0" y="0"/>
            <a:chExt cx="1149350" cy="114935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9478270" cy="7608388"/>
            </a:xfrm>
            <a:custGeom>
              <a:avLst/>
              <a:gdLst/>
              <a:ahLst/>
              <a:cxnLst/>
              <a:rect l="l" t="t" r="r" b="b"/>
              <a:pathLst>
                <a:path w="9478270" h="7608388">
                  <a:moveTo>
                    <a:pt x="9478270" y="84071"/>
                  </a:moveTo>
                  <a:lnTo>
                    <a:pt x="9478270" y="0"/>
                  </a:lnTo>
                  <a:lnTo>
                    <a:pt x="52366" y="0"/>
                  </a:lnTo>
                  <a:lnTo>
                    <a:pt x="52366" y="42035"/>
                  </a:lnTo>
                  <a:lnTo>
                    <a:pt x="0" y="42035"/>
                  </a:lnTo>
                  <a:lnTo>
                    <a:pt x="0" y="7608388"/>
                  </a:lnTo>
                  <a:lnTo>
                    <a:pt x="104732" y="7608388"/>
                  </a:lnTo>
                  <a:lnTo>
                    <a:pt x="104732" y="6137152"/>
                  </a:lnTo>
                  <a:lnTo>
                    <a:pt x="1885181" y="6137152"/>
                  </a:lnTo>
                  <a:lnTo>
                    <a:pt x="1885181" y="7608388"/>
                  </a:lnTo>
                  <a:lnTo>
                    <a:pt x="1989913" y="7608388"/>
                  </a:lnTo>
                  <a:lnTo>
                    <a:pt x="1989913" y="6137152"/>
                  </a:lnTo>
                  <a:lnTo>
                    <a:pt x="3770362" y="6137152"/>
                  </a:lnTo>
                  <a:lnTo>
                    <a:pt x="3770362" y="7608388"/>
                  </a:lnTo>
                  <a:lnTo>
                    <a:pt x="3875094" y="7608388"/>
                  </a:lnTo>
                  <a:lnTo>
                    <a:pt x="3875094" y="6137152"/>
                  </a:lnTo>
                  <a:lnTo>
                    <a:pt x="5655542" y="6137152"/>
                  </a:lnTo>
                  <a:lnTo>
                    <a:pt x="5655542" y="7608388"/>
                  </a:lnTo>
                  <a:lnTo>
                    <a:pt x="5760275" y="7608388"/>
                  </a:lnTo>
                  <a:lnTo>
                    <a:pt x="5760275" y="6137152"/>
                  </a:lnTo>
                  <a:lnTo>
                    <a:pt x="7540723" y="6137152"/>
                  </a:lnTo>
                  <a:lnTo>
                    <a:pt x="7540723" y="7608388"/>
                  </a:lnTo>
                  <a:lnTo>
                    <a:pt x="7645456" y="7608388"/>
                  </a:lnTo>
                  <a:lnTo>
                    <a:pt x="7645456" y="6137152"/>
                  </a:lnTo>
                  <a:lnTo>
                    <a:pt x="9478270" y="6137152"/>
                  </a:lnTo>
                  <a:lnTo>
                    <a:pt x="9478270" y="6053082"/>
                  </a:lnTo>
                  <a:lnTo>
                    <a:pt x="7645456" y="6053082"/>
                  </a:lnTo>
                  <a:lnTo>
                    <a:pt x="7645456" y="4623882"/>
                  </a:lnTo>
                  <a:lnTo>
                    <a:pt x="9478270" y="4623882"/>
                  </a:lnTo>
                  <a:lnTo>
                    <a:pt x="9478270" y="4539811"/>
                  </a:lnTo>
                  <a:lnTo>
                    <a:pt x="7645456" y="4539811"/>
                  </a:lnTo>
                  <a:lnTo>
                    <a:pt x="7645456" y="3110611"/>
                  </a:lnTo>
                  <a:lnTo>
                    <a:pt x="9478270" y="3110611"/>
                  </a:lnTo>
                  <a:lnTo>
                    <a:pt x="9478270" y="3026541"/>
                  </a:lnTo>
                  <a:lnTo>
                    <a:pt x="7645456" y="3026541"/>
                  </a:lnTo>
                  <a:lnTo>
                    <a:pt x="7645456" y="1597341"/>
                  </a:lnTo>
                  <a:lnTo>
                    <a:pt x="9478270" y="1597341"/>
                  </a:lnTo>
                  <a:lnTo>
                    <a:pt x="9478270" y="1513270"/>
                  </a:lnTo>
                  <a:lnTo>
                    <a:pt x="7645456" y="1513270"/>
                  </a:lnTo>
                  <a:lnTo>
                    <a:pt x="7645456" y="84071"/>
                  </a:lnTo>
                  <a:lnTo>
                    <a:pt x="9478270" y="84071"/>
                  </a:lnTo>
                  <a:close/>
                  <a:moveTo>
                    <a:pt x="1989913" y="1513270"/>
                  </a:moveTo>
                  <a:lnTo>
                    <a:pt x="1989913" y="84071"/>
                  </a:lnTo>
                  <a:lnTo>
                    <a:pt x="3770362" y="84071"/>
                  </a:lnTo>
                  <a:lnTo>
                    <a:pt x="3770362" y="1513270"/>
                  </a:lnTo>
                  <a:lnTo>
                    <a:pt x="1989913" y="1513270"/>
                  </a:lnTo>
                  <a:close/>
                  <a:moveTo>
                    <a:pt x="3770362" y="1597341"/>
                  </a:moveTo>
                  <a:lnTo>
                    <a:pt x="3770362" y="3026541"/>
                  </a:lnTo>
                  <a:lnTo>
                    <a:pt x="1989913" y="3026541"/>
                  </a:lnTo>
                  <a:lnTo>
                    <a:pt x="1989913" y="1597341"/>
                  </a:lnTo>
                  <a:lnTo>
                    <a:pt x="3770362" y="1597341"/>
                  </a:lnTo>
                  <a:close/>
                  <a:moveTo>
                    <a:pt x="1885181" y="1513270"/>
                  </a:moveTo>
                  <a:lnTo>
                    <a:pt x="104732" y="1513270"/>
                  </a:lnTo>
                  <a:lnTo>
                    <a:pt x="104732" y="84071"/>
                  </a:lnTo>
                  <a:lnTo>
                    <a:pt x="1885181" y="84071"/>
                  </a:lnTo>
                  <a:lnTo>
                    <a:pt x="1885181" y="1513270"/>
                  </a:lnTo>
                  <a:close/>
                  <a:moveTo>
                    <a:pt x="1885181" y="1597341"/>
                  </a:moveTo>
                  <a:lnTo>
                    <a:pt x="1885181" y="3026541"/>
                  </a:lnTo>
                  <a:lnTo>
                    <a:pt x="104732" y="3026541"/>
                  </a:lnTo>
                  <a:lnTo>
                    <a:pt x="104732" y="1597341"/>
                  </a:lnTo>
                  <a:lnTo>
                    <a:pt x="1885181" y="1597341"/>
                  </a:lnTo>
                  <a:close/>
                  <a:moveTo>
                    <a:pt x="1885181" y="3110611"/>
                  </a:moveTo>
                  <a:lnTo>
                    <a:pt x="1885181" y="4539811"/>
                  </a:lnTo>
                  <a:lnTo>
                    <a:pt x="104732" y="4539811"/>
                  </a:lnTo>
                  <a:lnTo>
                    <a:pt x="104732" y="3110611"/>
                  </a:lnTo>
                  <a:lnTo>
                    <a:pt x="1885181" y="3110611"/>
                  </a:lnTo>
                  <a:close/>
                  <a:moveTo>
                    <a:pt x="1989913" y="3110611"/>
                  </a:moveTo>
                  <a:lnTo>
                    <a:pt x="3770362" y="3110611"/>
                  </a:lnTo>
                  <a:lnTo>
                    <a:pt x="3770362" y="4539811"/>
                  </a:lnTo>
                  <a:lnTo>
                    <a:pt x="1989913" y="4539811"/>
                  </a:lnTo>
                  <a:lnTo>
                    <a:pt x="1989913" y="3110611"/>
                  </a:lnTo>
                  <a:close/>
                  <a:moveTo>
                    <a:pt x="3875094" y="3110611"/>
                  </a:moveTo>
                  <a:lnTo>
                    <a:pt x="5655542" y="3110611"/>
                  </a:lnTo>
                  <a:lnTo>
                    <a:pt x="5655542" y="4539811"/>
                  </a:lnTo>
                  <a:lnTo>
                    <a:pt x="3875094" y="4539811"/>
                  </a:lnTo>
                  <a:lnTo>
                    <a:pt x="3875094" y="3110611"/>
                  </a:lnTo>
                  <a:close/>
                  <a:moveTo>
                    <a:pt x="3875094" y="3026541"/>
                  </a:moveTo>
                  <a:lnTo>
                    <a:pt x="3875094" y="1597341"/>
                  </a:lnTo>
                  <a:lnTo>
                    <a:pt x="5655542" y="1597341"/>
                  </a:lnTo>
                  <a:lnTo>
                    <a:pt x="5655542" y="3026541"/>
                  </a:lnTo>
                  <a:lnTo>
                    <a:pt x="3875094" y="3026541"/>
                  </a:lnTo>
                  <a:close/>
                  <a:moveTo>
                    <a:pt x="3875094" y="1513270"/>
                  </a:moveTo>
                  <a:lnTo>
                    <a:pt x="3875094" y="84071"/>
                  </a:lnTo>
                  <a:lnTo>
                    <a:pt x="5655542" y="84071"/>
                  </a:lnTo>
                  <a:lnTo>
                    <a:pt x="5655542" y="1513270"/>
                  </a:lnTo>
                  <a:lnTo>
                    <a:pt x="3875094" y="1513270"/>
                  </a:lnTo>
                  <a:close/>
                  <a:moveTo>
                    <a:pt x="104732" y="6053082"/>
                  </a:moveTo>
                  <a:lnTo>
                    <a:pt x="104732" y="4623882"/>
                  </a:lnTo>
                  <a:lnTo>
                    <a:pt x="1885181" y="4623882"/>
                  </a:lnTo>
                  <a:lnTo>
                    <a:pt x="1885181" y="6053082"/>
                  </a:lnTo>
                  <a:lnTo>
                    <a:pt x="104732" y="6053082"/>
                  </a:lnTo>
                  <a:close/>
                  <a:moveTo>
                    <a:pt x="1989913" y="6053082"/>
                  </a:moveTo>
                  <a:lnTo>
                    <a:pt x="1989913" y="4623882"/>
                  </a:lnTo>
                  <a:lnTo>
                    <a:pt x="3770362" y="4623882"/>
                  </a:lnTo>
                  <a:lnTo>
                    <a:pt x="3770362" y="6053082"/>
                  </a:lnTo>
                  <a:lnTo>
                    <a:pt x="1989913" y="6053082"/>
                  </a:lnTo>
                  <a:close/>
                  <a:moveTo>
                    <a:pt x="3875094" y="6053082"/>
                  </a:moveTo>
                  <a:lnTo>
                    <a:pt x="3875094" y="4623882"/>
                  </a:lnTo>
                  <a:lnTo>
                    <a:pt x="5655542" y="4623882"/>
                  </a:lnTo>
                  <a:lnTo>
                    <a:pt x="5655542" y="6053082"/>
                  </a:lnTo>
                  <a:lnTo>
                    <a:pt x="3875094" y="6053082"/>
                  </a:lnTo>
                  <a:close/>
                  <a:moveTo>
                    <a:pt x="7540723" y="6053082"/>
                  </a:moveTo>
                  <a:lnTo>
                    <a:pt x="5760275" y="6053082"/>
                  </a:lnTo>
                  <a:lnTo>
                    <a:pt x="5760275" y="4623882"/>
                  </a:lnTo>
                  <a:lnTo>
                    <a:pt x="7540723" y="4623882"/>
                  </a:lnTo>
                  <a:lnTo>
                    <a:pt x="7540723" y="6053082"/>
                  </a:lnTo>
                  <a:close/>
                  <a:moveTo>
                    <a:pt x="7540723" y="4539811"/>
                  </a:moveTo>
                  <a:lnTo>
                    <a:pt x="5760275" y="4539811"/>
                  </a:lnTo>
                  <a:lnTo>
                    <a:pt x="5760275" y="3110611"/>
                  </a:lnTo>
                  <a:lnTo>
                    <a:pt x="7540723" y="3110611"/>
                  </a:lnTo>
                  <a:lnTo>
                    <a:pt x="7540723" y="4539811"/>
                  </a:lnTo>
                  <a:close/>
                  <a:moveTo>
                    <a:pt x="7540723" y="3026541"/>
                  </a:moveTo>
                  <a:lnTo>
                    <a:pt x="5760275" y="3026541"/>
                  </a:lnTo>
                  <a:lnTo>
                    <a:pt x="5760275" y="1597341"/>
                  </a:lnTo>
                  <a:lnTo>
                    <a:pt x="7540723" y="1597341"/>
                  </a:lnTo>
                  <a:lnTo>
                    <a:pt x="7540723" y="3026541"/>
                  </a:lnTo>
                  <a:close/>
                  <a:moveTo>
                    <a:pt x="7540723" y="1513270"/>
                  </a:moveTo>
                  <a:lnTo>
                    <a:pt x="5760275" y="1513270"/>
                  </a:lnTo>
                  <a:lnTo>
                    <a:pt x="5760275" y="84071"/>
                  </a:lnTo>
                  <a:lnTo>
                    <a:pt x="7540723" y="84071"/>
                  </a:lnTo>
                  <a:lnTo>
                    <a:pt x="7540723" y="1513270"/>
                  </a:lnTo>
                  <a:close/>
                </a:path>
              </a:pathLst>
            </a:custGeom>
            <a:solidFill>
              <a:srgbClr val="FF5757">
                <a:alpha val="19608"/>
              </a:srgbClr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2206229" y="2120342"/>
            <a:ext cx="2529988" cy="3892648"/>
            <a:chOff x="0" y="0"/>
            <a:chExt cx="4128770" cy="635254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Freeform 6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Freeform 7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8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9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0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00C6CA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1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2" name="Group 12"/>
          <p:cNvGrpSpPr>
            <a:grpSpLocks noChangeAspect="1"/>
          </p:cNvGrpSpPr>
          <p:nvPr/>
        </p:nvGrpSpPr>
        <p:grpSpPr>
          <a:xfrm>
            <a:off x="4838982" y="2120342"/>
            <a:ext cx="2529988" cy="3892648"/>
            <a:chOff x="0" y="0"/>
            <a:chExt cx="4128770" cy="635254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4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5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6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7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8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56AEFF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9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0" name="Group 20"/>
          <p:cNvGrpSpPr>
            <a:grpSpLocks noChangeAspect="1"/>
          </p:cNvGrpSpPr>
          <p:nvPr/>
        </p:nvGrpSpPr>
        <p:grpSpPr>
          <a:xfrm>
            <a:off x="7516090" y="2094079"/>
            <a:ext cx="2529988" cy="3892648"/>
            <a:chOff x="0" y="0"/>
            <a:chExt cx="4128770" cy="6352540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22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23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4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25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6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F9C04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27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4079933" y="424713"/>
            <a:ext cx="4040136" cy="1455300"/>
            <a:chOff x="0" y="0"/>
            <a:chExt cx="18938240" cy="6350000"/>
          </a:xfrm>
        </p:grpSpPr>
        <p:sp>
          <p:nvSpPr>
            <p:cNvPr id="29" name="Freeform 29"/>
            <p:cNvSpPr/>
            <p:nvPr/>
          </p:nvSpPr>
          <p:spPr>
            <a:xfrm>
              <a:off x="27940" y="27940"/>
              <a:ext cx="18883630" cy="916940"/>
            </a:xfrm>
            <a:custGeom>
              <a:avLst/>
              <a:gdLst/>
              <a:ahLst/>
              <a:cxnLst/>
              <a:rect l="l" t="t" r="r" b="b"/>
              <a:pathLst>
                <a:path w="18883630" h="916940">
                  <a:moveTo>
                    <a:pt x="18883630" y="670560"/>
                  </a:moveTo>
                  <a:lnTo>
                    <a:pt x="18883630" y="916940"/>
                  </a:lnTo>
                  <a:lnTo>
                    <a:pt x="0" y="91694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271780"/>
                  </a:lnTo>
                  <a:moveTo>
                    <a:pt x="18883630" y="271780"/>
                  </a:moveTo>
                  <a:lnTo>
                    <a:pt x="18883630" y="670560"/>
                  </a:lnTo>
                </a:path>
              </a:pathLst>
            </a:custGeom>
            <a:solidFill>
              <a:srgbClr val="FA7D9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0"/>
            <p:cNvSpPr/>
            <p:nvPr/>
          </p:nvSpPr>
          <p:spPr>
            <a:xfrm>
              <a:off x="27940" y="944880"/>
              <a:ext cx="18883630" cy="5377180"/>
            </a:xfrm>
            <a:custGeom>
              <a:avLst/>
              <a:gdLst/>
              <a:ahLst/>
              <a:cxnLst/>
              <a:rect l="l" t="t" r="r" b="b"/>
              <a:pathLst>
                <a:path w="18883630" h="5377180">
                  <a:moveTo>
                    <a:pt x="18883630" y="1172210"/>
                  </a:moveTo>
                  <a:lnTo>
                    <a:pt x="18883630" y="5377180"/>
                  </a:lnTo>
                  <a:lnTo>
                    <a:pt x="10957560" y="5377180"/>
                  </a:lnTo>
                  <a:moveTo>
                    <a:pt x="10957560" y="5377180"/>
                  </a:moveTo>
                  <a:lnTo>
                    <a:pt x="0" y="537718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1172210"/>
                  </a:lnTo>
                </a:path>
              </a:pathLst>
            </a:custGeom>
            <a:solidFill>
              <a:srgbClr val="FAF2E9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1"/>
            <p:cNvSpPr/>
            <p:nvPr/>
          </p:nvSpPr>
          <p:spPr>
            <a:xfrm>
              <a:off x="317500" y="299720"/>
              <a:ext cx="1515110" cy="369570"/>
            </a:xfrm>
            <a:custGeom>
              <a:avLst/>
              <a:gdLst/>
              <a:ahLst/>
              <a:cxnLst/>
              <a:rect l="l" t="t" r="r" b="b"/>
              <a:pathLst>
                <a:path w="1515110" h="369570">
                  <a:moveTo>
                    <a:pt x="368300" y="185420"/>
                  </a:moveTo>
                  <a:cubicBezTo>
                    <a:pt x="368300" y="287020"/>
                    <a:pt x="285750" y="369570"/>
                    <a:pt x="184150" y="369570"/>
                  </a:cubicBezTo>
                  <a:cubicBezTo>
                    <a:pt x="82550" y="369570"/>
                    <a:pt x="0" y="287020"/>
                    <a:pt x="0" y="185420"/>
                  </a:cubicBezTo>
                  <a:cubicBezTo>
                    <a:pt x="0" y="83820"/>
                    <a:pt x="82550" y="1270"/>
                    <a:pt x="184150" y="1270"/>
                  </a:cubicBezTo>
                  <a:cubicBezTo>
                    <a:pt x="285750" y="1270"/>
                    <a:pt x="368300" y="82550"/>
                    <a:pt x="368300" y="185420"/>
                  </a:cubicBezTo>
                  <a:close/>
                  <a:moveTo>
                    <a:pt x="756920" y="0"/>
                  </a:moveTo>
                  <a:cubicBezTo>
                    <a:pt x="655320" y="0"/>
                    <a:pt x="572770" y="82550"/>
                    <a:pt x="572770" y="184150"/>
                  </a:cubicBezTo>
                  <a:cubicBezTo>
                    <a:pt x="572770" y="285750"/>
                    <a:pt x="655320" y="368300"/>
                    <a:pt x="756920" y="368300"/>
                  </a:cubicBezTo>
                  <a:cubicBezTo>
                    <a:pt x="858520" y="368300"/>
                    <a:pt x="941070" y="285750"/>
                    <a:pt x="941070" y="184150"/>
                  </a:cubicBezTo>
                  <a:cubicBezTo>
                    <a:pt x="941070" y="82550"/>
                    <a:pt x="858520" y="0"/>
                    <a:pt x="756920" y="0"/>
                  </a:cubicBezTo>
                  <a:close/>
                  <a:moveTo>
                    <a:pt x="1330960" y="0"/>
                  </a:moveTo>
                  <a:cubicBezTo>
                    <a:pt x="1229360" y="0"/>
                    <a:pt x="1146810" y="82550"/>
                    <a:pt x="1146810" y="184150"/>
                  </a:cubicBezTo>
                  <a:cubicBezTo>
                    <a:pt x="1146810" y="285750"/>
                    <a:pt x="1229360" y="368300"/>
                    <a:pt x="1330960" y="368300"/>
                  </a:cubicBezTo>
                  <a:cubicBezTo>
                    <a:pt x="1432560" y="368300"/>
                    <a:pt x="1515110" y="285750"/>
                    <a:pt x="1515110" y="184150"/>
                  </a:cubicBezTo>
                  <a:cubicBezTo>
                    <a:pt x="1515110" y="82550"/>
                    <a:pt x="1432560" y="0"/>
                    <a:pt x="133096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2"/>
            <p:cNvSpPr/>
            <p:nvPr/>
          </p:nvSpPr>
          <p:spPr>
            <a:xfrm>
              <a:off x="0" y="0"/>
              <a:ext cx="18939509" cy="6350000"/>
            </a:xfrm>
            <a:custGeom>
              <a:avLst/>
              <a:gdLst/>
              <a:ahLst/>
              <a:cxnLst/>
              <a:rect l="l" t="t" r="r" b="b"/>
              <a:pathLst>
                <a:path w="18939509" h="6350000">
                  <a:moveTo>
                    <a:pt x="18911570" y="6350000"/>
                  </a:moveTo>
                  <a:lnTo>
                    <a:pt x="27940" y="6350000"/>
                  </a:lnTo>
                  <a:cubicBezTo>
                    <a:pt x="12700" y="6350000"/>
                    <a:pt x="0" y="6337300"/>
                    <a:pt x="0" y="632206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6322060"/>
                  </a:lnTo>
                  <a:cubicBezTo>
                    <a:pt x="18938239" y="6337300"/>
                    <a:pt x="18926811" y="6350000"/>
                    <a:pt x="18911570" y="6350000"/>
                  </a:cubicBezTo>
                  <a:close/>
                  <a:moveTo>
                    <a:pt x="55880" y="6294120"/>
                  </a:moveTo>
                  <a:lnTo>
                    <a:pt x="18883630" y="629412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6294120"/>
                  </a:lnTo>
                  <a:close/>
                  <a:moveTo>
                    <a:pt x="18911570" y="972820"/>
                  </a:moveTo>
                  <a:lnTo>
                    <a:pt x="27940" y="972820"/>
                  </a:lnTo>
                  <a:cubicBezTo>
                    <a:pt x="12700" y="972820"/>
                    <a:pt x="0" y="960120"/>
                    <a:pt x="0" y="94488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944880"/>
                  </a:lnTo>
                  <a:cubicBezTo>
                    <a:pt x="18938239" y="960120"/>
                    <a:pt x="18926811" y="972820"/>
                    <a:pt x="18911570" y="972820"/>
                  </a:cubicBezTo>
                  <a:close/>
                  <a:moveTo>
                    <a:pt x="55880" y="916940"/>
                  </a:moveTo>
                  <a:lnTo>
                    <a:pt x="18883630" y="91694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916940"/>
                  </a:lnTo>
                  <a:close/>
                  <a:moveTo>
                    <a:pt x="501650" y="695960"/>
                  </a:moveTo>
                  <a:cubicBezTo>
                    <a:pt x="384810" y="695960"/>
                    <a:pt x="289560" y="600710"/>
                    <a:pt x="289560" y="483870"/>
                  </a:cubicBezTo>
                  <a:cubicBezTo>
                    <a:pt x="289560" y="367030"/>
                    <a:pt x="384810" y="271780"/>
                    <a:pt x="501650" y="271780"/>
                  </a:cubicBezTo>
                  <a:cubicBezTo>
                    <a:pt x="618490" y="271780"/>
                    <a:pt x="713740" y="367030"/>
                    <a:pt x="713740" y="483870"/>
                  </a:cubicBezTo>
                  <a:cubicBezTo>
                    <a:pt x="713740" y="600710"/>
                    <a:pt x="618490" y="695960"/>
                    <a:pt x="501650" y="695960"/>
                  </a:cubicBezTo>
                  <a:close/>
                  <a:moveTo>
                    <a:pt x="501650" y="327660"/>
                  </a:moveTo>
                  <a:cubicBezTo>
                    <a:pt x="415290" y="327660"/>
                    <a:pt x="345440" y="397510"/>
                    <a:pt x="345440" y="483870"/>
                  </a:cubicBezTo>
                  <a:cubicBezTo>
                    <a:pt x="345440" y="570230"/>
                    <a:pt x="415290" y="640080"/>
                    <a:pt x="501650" y="640080"/>
                  </a:cubicBezTo>
                  <a:cubicBezTo>
                    <a:pt x="588010" y="640080"/>
                    <a:pt x="657860" y="570230"/>
                    <a:pt x="657860" y="483870"/>
                  </a:cubicBezTo>
                  <a:cubicBezTo>
                    <a:pt x="657860" y="397510"/>
                    <a:pt x="588010" y="327660"/>
                    <a:pt x="501650" y="327660"/>
                  </a:cubicBezTo>
                  <a:close/>
                  <a:moveTo>
                    <a:pt x="1074420" y="695960"/>
                  </a:moveTo>
                  <a:cubicBezTo>
                    <a:pt x="957580" y="695960"/>
                    <a:pt x="862330" y="600710"/>
                    <a:pt x="862330" y="483870"/>
                  </a:cubicBezTo>
                  <a:cubicBezTo>
                    <a:pt x="862330" y="367030"/>
                    <a:pt x="957580" y="271780"/>
                    <a:pt x="1074420" y="271780"/>
                  </a:cubicBezTo>
                  <a:cubicBezTo>
                    <a:pt x="1191260" y="271780"/>
                    <a:pt x="1286510" y="367030"/>
                    <a:pt x="1286510" y="483870"/>
                  </a:cubicBezTo>
                  <a:cubicBezTo>
                    <a:pt x="1286510" y="600710"/>
                    <a:pt x="1191260" y="695960"/>
                    <a:pt x="1074420" y="695960"/>
                  </a:cubicBezTo>
                  <a:close/>
                  <a:moveTo>
                    <a:pt x="1074420" y="327660"/>
                  </a:moveTo>
                  <a:cubicBezTo>
                    <a:pt x="988060" y="327660"/>
                    <a:pt x="918210" y="397510"/>
                    <a:pt x="918210" y="483870"/>
                  </a:cubicBezTo>
                  <a:cubicBezTo>
                    <a:pt x="918210" y="570230"/>
                    <a:pt x="988060" y="640080"/>
                    <a:pt x="1074420" y="640080"/>
                  </a:cubicBezTo>
                  <a:cubicBezTo>
                    <a:pt x="1160780" y="640080"/>
                    <a:pt x="1230630" y="570230"/>
                    <a:pt x="1230630" y="483870"/>
                  </a:cubicBezTo>
                  <a:cubicBezTo>
                    <a:pt x="1230630" y="397510"/>
                    <a:pt x="1160780" y="327660"/>
                    <a:pt x="1074420" y="327660"/>
                  </a:cubicBezTo>
                  <a:close/>
                  <a:moveTo>
                    <a:pt x="1648460" y="695960"/>
                  </a:moveTo>
                  <a:cubicBezTo>
                    <a:pt x="1531620" y="695960"/>
                    <a:pt x="1436370" y="600710"/>
                    <a:pt x="1436370" y="483870"/>
                  </a:cubicBezTo>
                  <a:cubicBezTo>
                    <a:pt x="1436370" y="367030"/>
                    <a:pt x="1531620" y="271780"/>
                    <a:pt x="1648460" y="271780"/>
                  </a:cubicBezTo>
                  <a:cubicBezTo>
                    <a:pt x="1765300" y="271780"/>
                    <a:pt x="1860550" y="367030"/>
                    <a:pt x="1860550" y="483870"/>
                  </a:cubicBezTo>
                  <a:cubicBezTo>
                    <a:pt x="1860550" y="600710"/>
                    <a:pt x="1765300" y="695960"/>
                    <a:pt x="1648460" y="695960"/>
                  </a:cubicBezTo>
                  <a:close/>
                  <a:moveTo>
                    <a:pt x="1648460" y="327660"/>
                  </a:moveTo>
                  <a:cubicBezTo>
                    <a:pt x="1562100" y="327660"/>
                    <a:pt x="1492250" y="397510"/>
                    <a:pt x="1492250" y="483870"/>
                  </a:cubicBezTo>
                  <a:cubicBezTo>
                    <a:pt x="1492250" y="570230"/>
                    <a:pt x="1562100" y="640080"/>
                    <a:pt x="1648460" y="640080"/>
                  </a:cubicBezTo>
                  <a:cubicBezTo>
                    <a:pt x="1734820" y="640080"/>
                    <a:pt x="1804670" y="570230"/>
                    <a:pt x="1804670" y="483870"/>
                  </a:cubicBezTo>
                  <a:cubicBezTo>
                    <a:pt x="1804670" y="397510"/>
                    <a:pt x="1733550" y="327660"/>
                    <a:pt x="1648460" y="327660"/>
                  </a:cubicBezTo>
                  <a:close/>
                  <a:moveTo>
                    <a:pt x="18501361" y="670560"/>
                  </a:moveTo>
                  <a:lnTo>
                    <a:pt x="18501361" y="302260"/>
                  </a:lnTo>
                  <a:cubicBezTo>
                    <a:pt x="18501361" y="287020"/>
                    <a:pt x="18488661" y="274320"/>
                    <a:pt x="18473421" y="274320"/>
                  </a:cubicBezTo>
                  <a:cubicBezTo>
                    <a:pt x="18458182" y="274320"/>
                    <a:pt x="18445482" y="287020"/>
                    <a:pt x="18445482" y="302260"/>
                  </a:cubicBezTo>
                  <a:lnTo>
                    <a:pt x="18445482" y="670560"/>
                  </a:lnTo>
                  <a:cubicBezTo>
                    <a:pt x="18445482" y="685800"/>
                    <a:pt x="18458182" y="698500"/>
                    <a:pt x="18473421" y="698500"/>
                  </a:cubicBezTo>
                  <a:cubicBezTo>
                    <a:pt x="18488661" y="698500"/>
                    <a:pt x="18501361" y="685800"/>
                    <a:pt x="18501361" y="670560"/>
                  </a:cubicBezTo>
                  <a:close/>
                  <a:moveTo>
                    <a:pt x="18685511" y="488950"/>
                  </a:moveTo>
                  <a:cubicBezTo>
                    <a:pt x="18685511" y="473710"/>
                    <a:pt x="18672811" y="461010"/>
                    <a:pt x="18657571" y="461010"/>
                  </a:cubicBezTo>
                  <a:lnTo>
                    <a:pt x="18289271" y="458470"/>
                  </a:lnTo>
                  <a:cubicBezTo>
                    <a:pt x="18275302" y="457200"/>
                    <a:pt x="18261332" y="471170"/>
                    <a:pt x="18261332" y="486410"/>
                  </a:cubicBezTo>
                  <a:cubicBezTo>
                    <a:pt x="18261332" y="501650"/>
                    <a:pt x="18274032" y="514350"/>
                    <a:pt x="18289271" y="514350"/>
                  </a:cubicBezTo>
                  <a:lnTo>
                    <a:pt x="18657571" y="516890"/>
                  </a:lnTo>
                  <a:lnTo>
                    <a:pt x="18657571" y="516890"/>
                  </a:lnTo>
                  <a:cubicBezTo>
                    <a:pt x="18672811" y="516890"/>
                    <a:pt x="18685511" y="504190"/>
                    <a:pt x="18685511" y="48895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3" name="Group 33"/>
          <p:cNvGrpSpPr/>
          <p:nvPr/>
        </p:nvGrpSpPr>
        <p:grpSpPr>
          <a:xfrm>
            <a:off x="2205136" y="5698528"/>
            <a:ext cx="2531080" cy="652530"/>
            <a:chOff x="0" y="0"/>
            <a:chExt cx="40419286" cy="10420374"/>
          </a:xfrm>
        </p:grpSpPr>
        <p:sp>
          <p:nvSpPr>
            <p:cNvPr id="34" name="Freeform 34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5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6" name="Group 36"/>
          <p:cNvGrpSpPr/>
          <p:nvPr/>
        </p:nvGrpSpPr>
        <p:grpSpPr>
          <a:xfrm>
            <a:off x="4838435" y="5698528"/>
            <a:ext cx="2531080" cy="652530"/>
            <a:chOff x="0" y="0"/>
            <a:chExt cx="40419286" cy="10420374"/>
          </a:xfrm>
        </p:grpSpPr>
        <p:sp>
          <p:nvSpPr>
            <p:cNvPr id="37" name="Freeform 37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8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9" name="Group 39"/>
          <p:cNvGrpSpPr/>
          <p:nvPr/>
        </p:nvGrpSpPr>
        <p:grpSpPr>
          <a:xfrm>
            <a:off x="7516975" y="5697332"/>
            <a:ext cx="2540045" cy="652530"/>
            <a:chOff x="0" y="0"/>
            <a:chExt cx="40419286" cy="10420374"/>
          </a:xfrm>
        </p:grpSpPr>
        <p:sp>
          <p:nvSpPr>
            <p:cNvPr id="40" name="Freeform 40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41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2" name="Freeform 42"/>
          <p:cNvSpPr/>
          <p:nvPr/>
        </p:nvSpPr>
        <p:spPr>
          <a:xfrm>
            <a:off x="1603691" y="527665"/>
            <a:ext cx="1073750" cy="462558"/>
          </a:xfrm>
          <a:custGeom>
            <a:avLst/>
            <a:gdLst/>
            <a:ahLst/>
            <a:cxnLst/>
            <a:rect l="l" t="t" r="r" b="b"/>
            <a:pathLst>
              <a:path w="1127438" h="485686">
                <a:moveTo>
                  <a:pt x="0" y="0"/>
                </a:moveTo>
                <a:lnTo>
                  <a:pt x="1127438" y="0"/>
                </a:lnTo>
                <a:lnTo>
                  <a:pt x="1127438" y="485686"/>
                </a:lnTo>
                <a:lnTo>
                  <a:pt x="0" y="485686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16582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3" name="Freeform 43"/>
          <p:cNvSpPr/>
          <p:nvPr/>
        </p:nvSpPr>
        <p:spPr>
          <a:xfrm>
            <a:off x="8557783" y="501393"/>
            <a:ext cx="1502501" cy="1258809"/>
          </a:xfrm>
          <a:custGeom>
            <a:avLst/>
            <a:gdLst/>
            <a:ahLst/>
            <a:cxnLst/>
            <a:rect l="l" t="t" r="r" b="b"/>
            <a:pathLst>
              <a:path w="1260606" h="1170788">
                <a:moveTo>
                  <a:pt x="0" y="0"/>
                </a:moveTo>
                <a:lnTo>
                  <a:pt x="1260605" y="0"/>
                </a:lnTo>
                <a:lnTo>
                  <a:pt x="1260605" y="1170787"/>
                </a:lnTo>
                <a:lnTo>
                  <a:pt x="0" y="1170787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44" name="Group 44"/>
          <p:cNvGrpSpPr/>
          <p:nvPr/>
        </p:nvGrpSpPr>
        <p:grpSpPr>
          <a:xfrm>
            <a:off x="4212578" y="782219"/>
            <a:ext cx="3774844" cy="1025224"/>
            <a:chOff x="0" y="57149"/>
            <a:chExt cx="5284782" cy="1435314"/>
          </a:xfrm>
        </p:grpSpPr>
        <p:sp>
          <p:nvSpPr>
            <p:cNvPr id="45" name="TextBox 45"/>
            <p:cNvSpPr txBox="1"/>
            <p:nvPr/>
          </p:nvSpPr>
          <p:spPr>
            <a:xfrm>
              <a:off x="0" y="1213063"/>
              <a:ext cx="5284782" cy="2794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599"/>
                </a:lnSpc>
              </a:pPr>
              <a:r>
                <a:rPr lang="en-US" sz="1332">
                  <a:solidFill>
                    <a:srgbClr val="1B1464"/>
                  </a:solidFill>
                  <a:latin typeface="HK Grotesk"/>
                </a:rPr>
                <a:t>Share the great work that your ESSI Team is doing! </a:t>
              </a:r>
            </a:p>
          </p:txBody>
        </p:sp>
        <p:sp>
          <p:nvSpPr>
            <p:cNvPr id="46" name="TextBox 46"/>
            <p:cNvSpPr txBox="1"/>
            <p:nvPr/>
          </p:nvSpPr>
          <p:spPr>
            <a:xfrm>
              <a:off x="0" y="57149"/>
              <a:ext cx="5284782" cy="94660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37"/>
                </a:lnSpc>
              </a:pPr>
              <a:r>
                <a:rPr lang="en-US" sz="3400">
                  <a:solidFill>
                    <a:srgbClr val="1B1464"/>
                  </a:solidFill>
                  <a:latin typeface="TAN Tangkiwood"/>
                </a:rPr>
                <a:t>2024 F2F Neonatal Storyboards</a:t>
              </a:r>
            </a:p>
          </p:txBody>
        </p:sp>
      </p:grpSp>
      <p:sp>
        <p:nvSpPr>
          <p:cNvPr id="47" name="TextBox 47"/>
          <p:cNvSpPr txBox="1"/>
          <p:nvPr/>
        </p:nvSpPr>
        <p:spPr>
          <a:xfrm>
            <a:off x="2309031" y="5820685"/>
            <a:ext cx="2323291" cy="404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99"/>
              </a:lnSpc>
              <a:spcBef>
                <a:spcPct val="0"/>
              </a:spcBef>
            </a:pPr>
            <a:r>
              <a:rPr lang="en-US" sz="1300" b="1">
                <a:solidFill>
                  <a:srgbClr val="1B1464"/>
                </a:solidFill>
                <a:ea typeface="+mn-lt"/>
                <a:cs typeface="+mn-lt"/>
              </a:rPr>
              <a:t>Introduce your hospital and ESSI QI Team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4837376" y="5762183"/>
            <a:ext cx="2559683" cy="4923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Kickstarting ESSI at your hospital. Share successes, opportunities of Equitable and Respectful Care Education implementation.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7573013" y="5764079"/>
            <a:ext cx="2423185" cy="49391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Share successes, opportunities of Safe Sleep Education implementation. Share ESSI 2024 Summer Planning goals. </a:t>
            </a:r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8730311" y="632630"/>
            <a:ext cx="1142217" cy="4906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33"/>
              </a:lnSpc>
            </a:pPr>
            <a:r>
              <a:rPr lang="en-US" sz="950" b="1">
                <a:solidFill>
                  <a:srgbClr val="FF0000"/>
                </a:solidFill>
                <a:latin typeface="Canva Sans Bold"/>
              </a:rPr>
              <a:t>Storyboard templates coming soon on event webpage</a:t>
            </a:r>
          </a:p>
        </p:txBody>
      </p:sp>
      <p:pic>
        <p:nvPicPr>
          <p:cNvPr id="51" name="Picture 50" descr="A logo with black text&#10;&#10;Description automatically generated">
            <a:extLst>
              <a:ext uri="{FF2B5EF4-FFF2-40B4-BE49-F238E27FC236}">
                <a16:creationId xmlns:a16="http://schemas.microsoft.com/office/drawing/2014/main" id="{71B05762-4A76-D29F-133E-F13A5499E95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9336" y="2393740"/>
            <a:ext cx="1788723" cy="963463"/>
          </a:xfrm>
          <a:prstGeom prst="rect">
            <a:avLst/>
          </a:prstGeom>
        </p:spPr>
      </p:pic>
      <p:pic>
        <p:nvPicPr>
          <p:cNvPr id="52" name="Picture 51" descr="A map with a red star&#10;&#10;Description automatically generated">
            <a:extLst>
              <a:ext uri="{FF2B5EF4-FFF2-40B4-BE49-F238E27FC236}">
                <a16:creationId xmlns:a16="http://schemas.microsoft.com/office/drawing/2014/main" id="{FF9C82C7-C243-8E0C-A242-7926AA63ACB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4753" y="3419386"/>
            <a:ext cx="1754758" cy="1097533"/>
          </a:xfrm>
          <a:prstGeom prst="rect">
            <a:avLst/>
          </a:prstGeom>
        </p:spPr>
      </p:pic>
      <p:pic>
        <p:nvPicPr>
          <p:cNvPr id="53" name="Picture 52" descr="A group of text on a white background&#10;&#10;Description automatically generated">
            <a:extLst>
              <a:ext uri="{FF2B5EF4-FFF2-40B4-BE49-F238E27FC236}">
                <a16:creationId xmlns:a16="http://schemas.microsoft.com/office/drawing/2014/main" id="{00766143-BFDB-8FFA-19C2-6FCEBEF26B1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4844" y="4588893"/>
            <a:ext cx="1783332" cy="972630"/>
          </a:xfrm>
          <a:prstGeom prst="rect">
            <a:avLst/>
          </a:prstGeom>
        </p:spPr>
      </p:pic>
      <p:pic>
        <p:nvPicPr>
          <p:cNvPr id="54" name="Picture 53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428A8923-5FB8-ADFB-D22A-E7B8C29FD8A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8015" y="2398143"/>
            <a:ext cx="1880189" cy="958683"/>
          </a:xfrm>
          <a:prstGeom prst="rect">
            <a:avLst/>
          </a:prstGeom>
        </p:spPr>
      </p:pic>
      <p:pic>
        <p:nvPicPr>
          <p:cNvPr id="55" name="Picture 54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73D7FCE7-01C8-0330-52E0-F8C124DFE84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237" y="3396807"/>
            <a:ext cx="1883686" cy="1111634"/>
          </a:xfrm>
          <a:prstGeom prst="rect">
            <a:avLst/>
          </a:prstGeom>
        </p:spPr>
      </p:pic>
      <p:pic>
        <p:nvPicPr>
          <p:cNvPr id="56" name="Picture 55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9700AD06-56E4-9B57-2D22-2D73CD00CAB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6852" y="4581278"/>
            <a:ext cx="1903431" cy="1031985"/>
          </a:xfrm>
          <a:prstGeom prst="rect">
            <a:avLst/>
          </a:prstGeom>
        </p:spPr>
      </p:pic>
      <p:pic>
        <p:nvPicPr>
          <p:cNvPr id="57" name="Picture 56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E310F409-131D-0C7A-00F2-2C9DDC84FBD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269" y="4585910"/>
            <a:ext cx="1851793" cy="1050675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FE465F86-4EE0-F185-62E4-3DD367A2806A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6210" y="2396490"/>
            <a:ext cx="1871980" cy="1008380"/>
          </a:xfrm>
          <a:prstGeom prst="rect">
            <a:avLst/>
          </a:prstGeom>
        </p:spPr>
      </p:pic>
      <p:pic>
        <p:nvPicPr>
          <p:cNvPr id="60" name="Picture 59" descr="A white text with black text&#10;&#10;Description automatically generated">
            <a:extLst>
              <a:ext uri="{FF2B5EF4-FFF2-40B4-BE49-F238E27FC236}">
                <a16:creationId xmlns:a16="http://schemas.microsoft.com/office/drawing/2014/main" id="{533608E3-E6BE-2EF9-A207-F8DC4C239BC4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927" y="3468370"/>
            <a:ext cx="1851025" cy="1069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362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0E6DC-BCB6-7021-74E4-A553695C7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r"/>
            <a:r>
              <a:rPr lang="en-US" sz="8000">
                <a:solidFill>
                  <a:srgbClr val="1C498B"/>
                </a:solidFill>
                <a:latin typeface="Aptos Display"/>
                <a:ea typeface="Lato Medium"/>
                <a:cs typeface="Prompt"/>
              </a:rPr>
              <a:t>ESSI Launch Award Criteria</a:t>
            </a:r>
            <a:endParaRPr lang="en-US" sz="8000">
              <a:solidFill>
                <a:srgbClr val="1C498B"/>
              </a:solidFill>
              <a:latin typeface="Aptos Display"/>
              <a:cs typeface="Promp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0E1BB-D0B5-7D22-2E3B-1C4FE9EB1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32040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alpha val="6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FD39A-017D-DA82-0009-376839B3F9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7</a:t>
            </a:fld>
            <a:endParaRPr lang="en-US">
              <a:solidFill>
                <a:schemeClr val="tx1">
                  <a:alpha val="6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6C0E3B9-AD38-3062-92BA-93FBC89260B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2784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51CE6D6-0035-EE5C-370A-990D70309869}"/>
              </a:ext>
            </a:extLst>
          </p:cNvPr>
          <p:cNvSpPr txBox="1">
            <a:spLocks/>
          </p:cNvSpPr>
          <p:nvPr/>
        </p:nvSpPr>
        <p:spPr>
          <a:xfrm>
            <a:off x="1370978" y="2648951"/>
            <a:ext cx="7550988" cy="82445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ESSI Aims and Measures</a:t>
            </a:r>
          </a:p>
        </p:txBody>
      </p:sp>
    </p:spTree>
    <p:extLst>
      <p:ext uri="{BB962C8B-B14F-4D97-AF65-F5344CB8AC3E}">
        <p14:creationId xmlns:p14="http://schemas.microsoft.com/office/powerpoint/2010/main" val="33946701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22963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86027" y="5385726"/>
            <a:ext cx="3150228" cy="55364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62784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661147"/>
            <a:ext cx="7457964" cy="2861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ommunication to primary care provider completed.</a:t>
            </a:r>
            <a:endParaRPr lang="en-US" sz="2200"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914</Words>
  <Application>Microsoft Macintosh PowerPoint</Application>
  <PresentationFormat>Widescreen</PresentationFormat>
  <Paragraphs>471</Paragraphs>
  <Slides>57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2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88" baseType="lpstr">
      <vt:lpstr>Aptos</vt:lpstr>
      <vt:lpstr>Aptos Display</vt:lpstr>
      <vt:lpstr>Arial</vt:lpstr>
      <vt:lpstr>Barlow Bold</vt:lpstr>
      <vt:lpstr>Bierstadt Display</vt:lpstr>
      <vt:lpstr>Calibri</vt:lpstr>
      <vt:lpstr>Calibri Light</vt:lpstr>
      <vt:lpstr>Cambria</vt:lpstr>
      <vt:lpstr>Canva Sans 2 Bold</vt:lpstr>
      <vt:lpstr>Canva Sans Bold</vt:lpstr>
      <vt:lpstr>Courier New</vt:lpstr>
      <vt:lpstr>Courier New,monospace</vt:lpstr>
      <vt:lpstr>DM Sans</vt:lpstr>
      <vt:lpstr>Helvetica Neue Medium</vt:lpstr>
      <vt:lpstr>HK Grotesk</vt:lpstr>
      <vt:lpstr>HK Grotesk Bold</vt:lpstr>
      <vt:lpstr>Kollektif Bold</vt:lpstr>
      <vt:lpstr>Lato</vt:lpstr>
      <vt:lpstr>Lato Medium</vt:lpstr>
      <vt:lpstr>Prompt</vt:lpstr>
      <vt:lpstr>Prompt Bold</vt:lpstr>
      <vt:lpstr>Prompt Italics</vt:lpstr>
      <vt:lpstr>Staatliches</vt:lpstr>
      <vt:lpstr>TAN Tangkiwood</vt:lpstr>
      <vt:lpstr>Times New Roman</vt:lpstr>
      <vt:lpstr>Verdana</vt:lpstr>
      <vt:lpstr>Wingdings</vt:lpstr>
      <vt:lpstr>office theme</vt:lpstr>
      <vt:lpstr>1_Office Theme</vt:lpstr>
      <vt:lpstr>Office Theme</vt:lpstr>
      <vt:lpstr>think-cell Slide</vt:lpstr>
      <vt:lpstr>Equity and Safe Sleep for Infants Equitable and Respectful Care Education and Implementation, Part 2 </vt:lpstr>
      <vt:lpstr>Overview</vt:lpstr>
      <vt:lpstr>PowerPoint Presentation</vt:lpstr>
      <vt:lpstr>PowerPoint Presentation</vt:lpstr>
      <vt:lpstr>PowerPoint Presentation</vt:lpstr>
      <vt:lpstr>PowerPoint Presentation</vt:lpstr>
      <vt:lpstr>ESSI Launch Award Criteria</vt:lpstr>
      <vt:lpstr>PowerPoint Presentation</vt:lpstr>
      <vt:lpstr>ESSI Initiative Aims</vt:lpstr>
      <vt:lpstr>PowerPoint Presentation</vt:lpstr>
      <vt:lpstr>Key Driver Diagram</vt:lpstr>
      <vt:lpstr>PowerPoint Presentation</vt:lpstr>
      <vt:lpstr>Poll: Have you chosen your E-Module yet?</vt:lpstr>
      <vt:lpstr>PowerPoint Presentation</vt:lpstr>
      <vt:lpstr>PowerPoint Presentation</vt:lpstr>
      <vt:lpstr>PowerPoint Presentation</vt:lpstr>
      <vt:lpstr>PowerPoint Presentation</vt:lpstr>
      <vt:lpstr>ILPQC will be offering one seat to each ESSI hospital team to help build capacity to facilitate live discussions about equity and respectful care with your providers, nurses and staff.</vt:lpstr>
      <vt:lpstr>Tools to Facilitate Open Discussions  about equitable and respectful care </vt:lpstr>
      <vt:lpstr>PowerPoint Presentation</vt:lpstr>
      <vt:lpstr>Films: Toxic: A Black Woman's Sto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ources for Respectful Care Practices</vt:lpstr>
      <vt:lpstr>PowerPoint Presentation</vt:lpstr>
      <vt:lpstr>PowerPoint Presentation</vt:lpstr>
      <vt:lpstr>Implementation of Respectful Care Practices Requires Engagement and Support!</vt:lpstr>
      <vt:lpstr>Strategies that Birth Equity Teams Found Useful  </vt:lpstr>
      <vt:lpstr>PowerPoint Presentation</vt:lpstr>
      <vt:lpstr>Poll: Have you seen ILPQC's Respectful Care Practices around your hospital?</vt:lpstr>
      <vt:lpstr>PowerPoint Presentation</vt:lpstr>
      <vt:lpstr>Respectful Care Practices Process</vt:lpstr>
      <vt:lpstr>PowerPoint Presentation</vt:lpstr>
      <vt:lpstr>PowerPoint Presentation</vt:lpstr>
      <vt:lpstr>PowerPoint Presentation</vt:lpstr>
      <vt:lpstr>Team Talk</vt:lpstr>
      <vt:lpstr>Engaging Hospital Teams in Respectful Care Education and Implementation. </vt:lpstr>
      <vt:lpstr>PowerPoint Presentation</vt:lpstr>
      <vt:lpstr>St Mary’s Respectful Care Education Journey</vt:lpstr>
      <vt:lpstr>Implicit Bias Training</vt:lpstr>
      <vt:lpstr>PowerPoint Presentation</vt:lpstr>
      <vt:lpstr>Hearing Patient Voices: PREM Survey</vt:lpstr>
      <vt:lpstr>PowerPoint Presentation</vt:lpstr>
      <vt:lpstr>PowerPoint Presentation</vt:lpstr>
      <vt:lpstr>Thank You</vt:lpstr>
      <vt:lpstr>PowerPoint Presentation</vt:lpstr>
      <vt:lpstr>ESSI Data Collection</vt:lpstr>
      <vt:lpstr>Data Collection Timelines</vt:lpstr>
      <vt:lpstr> Two ESSI Data Forms</vt:lpstr>
      <vt:lpstr>Upcoming ESSI Cal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Kiela Karina Moreno</cp:lastModifiedBy>
  <cp:revision>9</cp:revision>
  <dcterms:created xsi:type="dcterms:W3CDTF">2024-01-25T18:05:32Z</dcterms:created>
  <dcterms:modified xsi:type="dcterms:W3CDTF">2024-07-22T16:34:51Z</dcterms:modified>
</cp:coreProperties>
</file>